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6010F9DD-DE00-4A60-A1AB-7E52E2EFC419}">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heme" Target="theme/theme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5/10/relationships/revisionInfo" Target="revisionInfo.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754</c:v>
                </c:pt>
                <c:pt idx="3">
                  <c:v>4.2099999999999999E-2</c:v>
                </c:pt>
                <c:pt idx="4">
                  <c:v>2.8899999999999999E-2</c:v>
                </c:pt>
                <c:pt idx="5">
                  <c:v>0.1154</c:v>
                </c:pt>
                <c:pt idx="6">
                  <c:v>8.8200000000000001E-2</c:v>
                </c:pt>
                <c:pt idx="7">
                  <c:v>0.25259999999999999</c:v>
                </c:pt>
                <c:pt idx="8">
                  <c:v>0.297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754</c:v>
                </c:pt>
                <c:pt idx="3">
                  <c:v>4.2099999999999999E-2</c:v>
                </c:pt>
                <c:pt idx="4">
                  <c:v>2.8899999999999999E-2</c:v>
                </c:pt>
                <c:pt idx="5">
                  <c:v>0.1154</c:v>
                </c:pt>
                <c:pt idx="6">
                  <c:v>8.8200000000000001E-2</c:v>
                </c:pt>
                <c:pt idx="7">
                  <c:v>0.25259999999999999</c:v>
                </c:pt>
                <c:pt idx="8">
                  <c:v>0.297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9820000000000002</c:v>
                </c:pt>
                <c:pt idx="4">
                  <c:v>4.99E-2</c:v>
                </c:pt>
                <c:pt idx="5">
                  <c:v>0.2238</c:v>
                </c:pt>
                <c:pt idx="6">
                  <c:v>8.4699999999999998E-2</c:v>
                </c:pt>
                <c:pt idx="7">
                  <c:v>0.21990000000000001</c:v>
                </c:pt>
                <c:pt idx="8">
                  <c:v>8.9499999999999996E-2</c:v>
                </c:pt>
                <c:pt idx="9">
                  <c:v>3.37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5590602913538E-2</c:v>
                </c:pt>
                <c:pt idx="1">
                  <c:v>1.639080822621522E-2</c:v>
                </c:pt>
                <c:pt idx="2">
                  <c:v>2.8305055337770453E-2</c:v>
                </c:pt>
                <c:pt idx="3">
                  <c:v>4.2299900341770766E-2</c:v>
                </c:pt>
                <c:pt idx="4">
                  <c:v>8.7002200153398351E-2</c:v>
                </c:pt>
                <c:pt idx="5">
                  <c:v>9.608248837393922E-2</c:v>
                </c:pt>
                <c:pt idx="6">
                  <c:v>0.11481066318864561</c:v>
                </c:pt>
                <c:pt idx="7">
                  <c:v>0.16443901429586391</c:v>
                </c:pt>
                <c:pt idx="8">
                  <c:v>0.21200061384242316</c:v>
                </c:pt>
                <c:pt idx="9">
                  <c:v>0.11609279258285989</c:v>
                </c:pt>
                <c:pt idx="10">
                  <c:v>6.05008730541998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484645492150674E-8</c:v>
                </c:pt>
                <c:pt idx="2">
                  <c:v>5.1579505663934262E-8</c:v>
                </c:pt>
                <c:pt idx="3">
                  <c:v>5.7156295965310414E-3</c:v>
                </c:pt>
                <c:pt idx="4">
                  <c:v>9.5671455023492024E-4</c:v>
                </c:pt>
                <c:pt idx="5">
                  <c:v>4.2897247098816647E-3</c:v>
                </c:pt>
                <c:pt idx="6">
                  <c:v>1.6244189686863194E-3</c:v>
                </c:pt>
                <c:pt idx="7">
                  <c:v>4.2159626724751383E-3</c:v>
                </c:pt>
                <c:pt idx="8">
                  <c:v>1.7155626563656109E-3</c:v>
                </c:pt>
                <c:pt idx="9">
                  <c:v>6.4603845352862344E-4</c:v>
                </c:pt>
                <c:pt idx="10">
                  <c:v>3.969178019395719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1537510215676431E-2</c:v>
                </c:pt>
                <c:pt idx="1">
                  <c:v>2.245484194824259E-3</c:v>
                </c:pt>
                <c:pt idx="2">
                  <c:v>4.1883412683697187E-3</c:v>
                </c:pt>
                <c:pt idx="3">
                  <c:v>1.2191051165558265E-2</c:v>
                </c:pt>
                <c:pt idx="4">
                  <c:v>4.0898355773922319E-2</c:v>
                </c:pt>
                <c:pt idx="5">
                  <c:v>3.0289510317929907E-2</c:v>
                </c:pt>
                <c:pt idx="6">
                  <c:v>3.5259635850915266E-2</c:v>
                </c:pt>
                <c:pt idx="7">
                  <c:v>5.7459709256012202E-2</c:v>
                </c:pt>
                <c:pt idx="8">
                  <c:v>0.11288499469595145</c:v>
                </c:pt>
                <c:pt idx="9">
                  <c:v>8.779489367640271E-2</c:v>
                </c:pt>
                <c:pt idx="10">
                  <c:v>5.25332167691386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0023395627692385E-5</c:v>
                </c:pt>
                <c:pt idx="1">
                  <c:v>9.890183701624949E-5</c:v>
                </c:pt>
                <c:pt idx="2">
                  <c:v>2.5375316005909283E-4</c:v>
                </c:pt>
                <c:pt idx="3">
                  <c:v>2.0672345557806303E-4</c:v>
                </c:pt>
                <c:pt idx="4">
                  <c:v>3.8650890334395458E-4</c:v>
                </c:pt>
                <c:pt idx="5">
                  <c:v>1.3987878297801374E-2</c:v>
                </c:pt>
                <c:pt idx="6">
                  <c:v>6.1974615424122241E-3</c:v>
                </c:pt>
                <c:pt idx="7">
                  <c:v>2.1302252231527341E-3</c:v>
                </c:pt>
                <c:pt idx="8">
                  <c:v>8.5670317502451344E-4</c:v>
                </c:pt>
                <c:pt idx="10">
                  <c:v>5.865142890932853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87129324469408E-3</c:v>
                </c:pt>
                <c:pt idx="1">
                  <c:v>1.6332966891387361E-3</c:v>
                </c:pt>
                <c:pt idx="2">
                  <c:v>1.8461352102498892E-3</c:v>
                </c:pt>
                <c:pt idx="3">
                  <c:v>2.2267309927587398E-4</c:v>
                </c:pt>
                <c:pt idx="4">
                  <c:v>1.7034857202900685E-3</c:v>
                </c:pt>
                <c:pt idx="5">
                  <c:v>6.4881888472646063E-3</c:v>
                </c:pt>
                <c:pt idx="6">
                  <c:v>7.4645169868802234E-3</c:v>
                </c:pt>
                <c:pt idx="7">
                  <c:v>1.3014392047457924E-2</c:v>
                </c:pt>
                <c:pt idx="8">
                  <c:v>1.1484635620656504E-2</c:v>
                </c:pt>
                <c:pt idx="9">
                  <c:v>1.1462309026454202E-2</c:v>
                </c:pt>
                <c:pt idx="10">
                  <c:v>7.856935023616200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069313574516984E-2</c:v>
                </c:pt>
                <c:pt idx="1">
                  <c:v>1.241312550523597E-2</c:v>
                </c:pt>
                <c:pt idx="2">
                  <c:v>2.2016774119586087E-2</c:v>
                </c:pt>
                <c:pt idx="3">
                  <c:v>2.3963823024827514E-2</c:v>
                </c:pt>
                <c:pt idx="4">
                  <c:v>4.305713520560709E-2</c:v>
                </c:pt>
                <c:pt idx="5">
                  <c:v>4.1027186201061674E-2</c:v>
                </c:pt>
                <c:pt idx="6">
                  <c:v>6.4264629839751564E-2</c:v>
                </c:pt>
                <c:pt idx="7">
                  <c:v>8.7618725096765909E-2</c:v>
                </c:pt>
                <c:pt idx="8">
                  <c:v>8.5058717694425121E-2</c:v>
                </c:pt>
                <c:pt idx="9">
                  <c:v>1.6189551426474352E-2</c:v>
                </c:pt>
                <c:pt idx="10">
                  <c:v>7.949965029127316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39639999999999997</c:v>
                </c:pt>
                <c:pt idx="4">
                  <c:v>9.7199999999999995E-2</c:v>
                </c:pt>
                <c:pt idx="5">
                  <c:v>0.13550000000000001</c:v>
                </c:pt>
                <c:pt idx="6">
                  <c:v>6.8099999999999994E-2</c:v>
                </c:pt>
                <c:pt idx="7">
                  <c:v>0.1603</c:v>
                </c:pt>
                <c:pt idx="8">
                  <c:v>4.9000000000000002E-2</c:v>
                </c:pt>
                <c:pt idx="9">
                  <c:v>9.2799999999999994E-2</c:v>
                </c:pt>
                <c:pt idx="10">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51E-2</c:v>
                </c:pt>
                <c:pt idx="1">
                  <c:v>2.7620932864173206E-2</c:v>
                </c:pt>
                <c:pt idx="2">
                  <c:v>3.321975086399976E-2</c:v>
                </c:pt>
                <c:pt idx="3">
                  <c:v>5.0673883901639509E-2</c:v>
                </c:pt>
                <c:pt idx="4">
                  <c:v>8.0498478937970977E-2</c:v>
                </c:pt>
                <c:pt idx="5">
                  <c:v>0.11300954238676617</c:v>
                </c:pt>
                <c:pt idx="6">
                  <c:v>0.13054828460312656</c:v>
                </c:pt>
                <c:pt idx="7">
                  <c:v>0.16999688993527615</c:v>
                </c:pt>
                <c:pt idx="8">
                  <c:v>0.17596357403605906</c:v>
                </c:pt>
                <c:pt idx="9">
                  <c:v>0.1247508482589552</c:v>
                </c:pt>
                <c:pt idx="10">
                  <c:v>2.30206666653028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896356463240782E-6</c:v>
                </c:pt>
                <c:pt idx="1">
                  <c:v>3.9607215488988784E-7</c:v>
                </c:pt>
                <c:pt idx="2">
                  <c:v>2.7463724884426656E-6</c:v>
                </c:pt>
                <c:pt idx="3">
                  <c:v>1.0401641215212906E-2</c:v>
                </c:pt>
                <c:pt idx="4">
                  <c:v>2.5501673259900166E-3</c:v>
                </c:pt>
                <c:pt idx="5">
                  <c:v>3.5556965300212423E-3</c:v>
                </c:pt>
                <c:pt idx="6">
                  <c:v>1.7860739078562468E-3</c:v>
                </c:pt>
                <c:pt idx="7">
                  <c:v>4.2072883066502989E-3</c:v>
                </c:pt>
                <c:pt idx="8">
                  <c:v>1.2870907741153095E-3</c:v>
                </c:pt>
                <c:pt idx="9">
                  <c:v>2.4358421192855737E-3</c:v>
                </c:pt>
                <c:pt idx="10">
                  <c:v>1.320186073391737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3069188362529549E-2</c:v>
                </c:pt>
                <c:pt idx="1">
                  <c:v>6.7719151245464616E-3</c:v>
                </c:pt>
                <c:pt idx="2">
                  <c:v>8.0226464748428782E-3</c:v>
                </c:pt>
                <c:pt idx="3">
                  <c:v>1.2031283771403632E-2</c:v>
                </c:pt>
                <c:pt idx="4">
                  <c:v>2.854363725578982E-2</c:v>
                </c:pt>
                <c:pt idx="5">
                  <c:v>4.0881534773557035E-2</c:v>
                </c:pt>
                <c:pt idx="6">
                  <c:v>4.5462132927523519E-2</c:v>
                </c:pt>
                <c:pt idx="7">
                  <c:v>5.1487648851214561E-2</c:v>
                </c:pt>
                <c:pt idx="8">
                  <c:v>7.984020946647484E-2</c:v>
                </c:pt>
                <c:pt idx="9">
                  <c:v>9.3795015616492172E-2</c:v>
                </c:pt>
                <c:pt idx="10">
                  <c:v>1.6961998277282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6949239404878965E-8</c:v>
                </c:pt>
                <c:pt idx="1">
                  <c:v>1.458582667390066E-4</c:v>
                </c:pt>
                <c:pt idx="2">
                  <c:v>7.0414034353771587E-4</c:v>
                </c:pt>
                <c:pt idx="3">
                  <c:v>3.6955655324634191E-4</c:v>
                </c:pt>
                <c:pt idx="4">
                  <c:v>3.3291007919560734E-3</c:v>
                </c:pt>
                <c:pt idx="5">
                  <c:v>1.3581920957382672E-2</c:v>
                </c:pt>
                <c:pt idx="6">
                  <c:v>5.2992037059156737E-3</c:v>
                </c:pt>
                <c:pt idx="7">
                  <c:v>2.363480144909E-3</c:v>
                </c:pt>
                <c:pt idx="8">
                  <c:v>7.6660378061651536E-4</c:v>
                </c:pt>
                <c:pt idx="9">
                  <c:v>4.1077174001982182E-7</c:v>
                </c:pt>
                <c:pt idx="10">
                  <c:v>4.954576832406081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8179328086945236E-3</c:v>
                </c:pt>
                <c:pt idx="1">
                  <c:v>2.4154203123220035E-3</c:v>
                </c:pt>
                <c:pt idx="2">
                  <c:v>1.839366437101204E-3</c:v>
                </c:pt>
                <c:pt idx="3">
                  <c:v>9.6860466282844987E-4</c:v>
                </c:pt>
                <c:pt idx="4">
                  <c:v>2.224397570271275E-3</c:v>
                </c:pt>
                <c:pt idx="5">
                  <c:v>3.2821535836255375E-3</c:v>
                </c:pt>
                <c:pt idx="6">
                  <c:v>9.0204175644999721E-3</c:v>
                </c:pt>
                <c:pt idx="7">
                  <c:v>1.3447783159853934E-2</c:v>
                </c:pt>
                <c:pt idx="8">
                  <c:v>1.1212361717378827E-2</c:v>
                </c:pt>
                <c:pt idx="9">
                  <c:v>9.1256167787695814E-3</c:v>
                </c:pt>
                <c:pt idx="10">
                  <c:v>1.6332872366593312E-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808309790620699E-2</c:v>
                </c:pt>
                <c:pt idx="1">
                  <c:v>1.8287343088410846E-2</c:v>
                </c:pt>
                <c:pt idx="2">
                  <c:v>2.2650851236029522E-2</c:v>
                </c:pt>
                <c:pt idx="3">
                  <c:v>2.6902797698948176E-2</c:v>
                </c:pt>
                <c:pt idx="4">
                  <c:v>4.3851175993963792E-2</c:v>
                </c:pt>
                <c:pt idx="5">
                  <c:v>5.1708236542179681E-2</c:v>
                </c:pt>
                <c:pt idx="6">
                  <c:v>6.8980456497331158E-2</c:v>
                </c:pt>
                <c:pt idx="7">
                  <c:v>9.8490689472648343E-2</c:v>
                </c:pt>
                <c:pt idx="8">
                  <c:v>8.2857308297473592E-2</c:v>
                </c:pt>
                <c:pt idx="9">
                  <c:v>1.9393962972667864E-2</c:v>
                </c:pt>
                <c:pt idx="10">
                  <c:v>6.040495617582060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299999999999999E-2</c:v>
                </c:pt>
                <c:pt idx="2">
                  <c:v>5.3400000000000003E-2</c:v>
                </c:pt>
                <c:pt idx="3">
                  <c:v>0.26860000000000001</c:v>
                </c:pt>
                <c:pt idx="4">
                  <c:v>0.15590000000000001</c:v>
                </c:pt>
                <c:pt idx="5">
                  <c:v>0.1182</c:v>
                </c:pt>
                <c:pt idx="6">
                  <c:v>3.5499999999999997E-2</c:v>
                </c:pt>
                <c:pt idx="7">
                  <c:v>0.30740000000000001</c:v>
                </c:pt>
                <c:pt idx="8">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6140754915016E-2</c:v>
                </c:pt>
                <c:pt idx="1">
                  <c:v>1.5633277822468455E-2</c:v>
                </c:pt>
                <c:pt idx="2">
                  <c:v>2.8142038356699532E-2</c:v>
                </c:pt>
                <c:pt idx="3">
                  <c:v>6.0911867845577033E-2</c:v>
                </c:pt>
                <c:pt idx="4">
                  <c:v>9.3166401312493333E-2</c:v>
                </c:pt>
                <c:pt idx="5">
                  <c:v>9.3267342556455732E-2</c:v>
                </c:pt>
                <c:pt idx="6">
                  <c:v>0.10621791691026569</c:v>
                </c:pt>
                <c:pt idx="7">
                  <c:v>0.17286318021440519</c:v>
                </c:pt>
                <c:pt idx="8">
                  <c:v>0.1708689325128169</c:v>
                </c:pt>
                <c:pt idx="9">
                  <c:v>0.13656175115690375</c:v>
                </c:pt>
                <c:pt idx="10">
                  <c:v>5.82011505569994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340141948171477E-4</c:v>
                </c:pt>
                <c:pt idx="2">
                  <c:v>8.5550442632668141E-4</c:v>
                </c:pt>
                <c:pt idx="3">
                  <c:v>4.304477539612479E-3</c:v>
                </c:pt>
                <c:pt idx="4">
                  <c:v>2.4980006403108098E-3</c:v>
                </c:pt>
                <c:pt idx="5">
                  <c:v>1.8944437177037627E-3</c:v>
                </c:pt>
                <c:pt idx="6">
                  <c:v>5.6868615607233788E-4</c:v>
                </c:pt>
                <c:pt idx="7">
                  <c:v>4.9260466444770246E-3</c:v>
                </c:pt>
                <c:pt idx="8">
                  <c:v>7.6316899488346971E-4</c:v>
                </c:pt>
                <c:pt idx="9">
                  <c:v>2.0315826500156591E-7</c:v>
                </c:pt>
                <c:pt idx="10">
                  <c:v>5.2565425210195369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7089274358492173E-2</c:v>
                </c:pt>
                <c:pt idx="1">
                  <c:v>2.1371034790636225E-3</c:v>
                </c:pt>
                <c:pt idx="2">
                  <c:v>2.6646294865092096E-3</c:v>
                </c:pt>
                <c:pt idx="3">
                  <c:v>2.4656637403743072E-2</c:v>
                </c:pt>
                <c:pt idx="4">
                  <c:v>4.454787378520015E-2</c:v>
                </c:pt>
                <c:pt idx="5">
                  <c:v>2.4827158932781361E-2</c:v>
                </c:pt>
                <c:pt idx="6">
                  <c:v>2.249622897237815E-2</c:v>
                </c:pt>
                <c:pt idx="7">
                  <c:v>6.3901289859993451E-2</c:v>
                </c:pt>
                <c:pt idx="8">
                  <c:v>7.9893973122182854E-2</c:v>
                </c:pt>
                <c:pt idx="9">
                  <c:v>0.10663760352720539</c:v>
                </c:pt>
                <c:pt idx="10">
                  <c:v>5.267850125360192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165112713714903E-3</c:v>
                </c:pt>
                <c:pt idx="1">
                  <c:v>8.957503627609252E-4</c:v>
                </c:pt>
                <c:pt idx="2">
                  <c:v>1.3216872928955544E-3</c:v>
                </c:pt>
                <c:pt idx="3">
                  <c:v>4.2015544370509162E-4</c:v>
                </c:pt>
                <c:pt idx="4">
                  <c:v>5.8754975614952517E-3</c:v>
                </c:pt>
                <c:pt idx="5">
                  <c:v>1.1443974681209432E-2</c:v>
                </c:pt>
                <c:pt idx="6">
                  <c:v>7.7223489694198547E-3</c:v>
                </c:pt>
                <c:pt idx="7">
                  <c:v>1.910559424660908E-2</c:v>
                </c:pt>
                <c:pt idx="8">
                  <c:v>1.3330850398370094E-2</c:v>
                </c:pt>
                <c:pt idx="9">
                  <c:v>1.3005318402792026E-2</c:v>
                </c:pt>
                <c:pt idx="10">
                  <c:v>9.791802166925123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ichesmont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13815364391465E-2</c:v>
                </c:pt>
                <c:pt idx="1">
                  <c:v>4.5842946635036913E-4</c:v>
                </c:pt>
                <c:pt idx="2">
                  <c:v>2.9420115525947395E-3</c:v>
                </c:pt>
                <c:pt idx="3">
                  <c:v>4.8557240503559581E-4</c:v>
                </c:pt>
                <c:pt idx="4">
                  <c:v>4.1853443964658259E-6</c:v>
                </c:pt>
                <c:pt idx="5">
                  <c:v>5.6635693946065908E-6</c:v>
                </c:pt>
                <c:pt idx="6">
                  <c:v>3.4981580133801101E-5</c:v>
                </c:pt>
                <c:pt idx="7">
                  <c:v>1.464835021583843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284536898834758E-2</c:v>
                </c:pt>
                <c:pt idx="1">
                  <c:v>1.2141994514293535E-2</c:v>
                </c:pt>
                <c:pt idx="2">
                  <c:v>2.0358205598373348E-2</c:v>
                </c:pt>
                <c:pt idx="3">
                  <c:v>3.1045025053480793E-2</c:v>
                </c:pt>
                <c:pt idx="4">
                  <c:v>4.0240843981090638E-2</c:v>
                </c:pt>
                <c:pt idx="5">
                  <c:v>5.5096101655366575E-2</c:v>
                </c:pt>
                <c:pt idx="6">
                  <c:v>7.5395671232261541E-2</c:v>
                </c:pt>
                <c:pt idx="7">
                  <c:v>8.4783765961167268E-2</c:v>
                </c:pt>
                <c:pt idx="8">
                  <c:v>7.6880939997380465E-2</c:v>
                </c:pt>
                <c:pt idx="9">
                  <c:v>1.6918626068641331E-2</c:v>
                </c:pt>
                <c:pt idx="10">
                  <c:v>5.424678716303018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3105</c:v>
                </c:pt>
                <c:pt idx="4">
                  <c:v>5.1999999999999998E-2</c:v>
                </c:pt>
                <c:pt idx="5">
                  <c:v>0.23300000000000001</c:v>
                </c:pt>
                <c:pt idx="6">
                  <c:v>8.7800000000000003E-2</c:v>
                </c:pt>
                <c:pt idx="7">
                  <c:v>0.22320000000000001</c:v>
                </c:pt>
                <c:pt idx="8">
                  <c:v>9.320000000000000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16802825232E-2</c:v>
                </c:pt>
                <c:pt idx="1">
                  <c:v>1.6257884832080134E-2</c:v>
                </c:pt>
                <c:pt idx="2">
                  <c:v>2.1276504885351145E-2</c:v>
                </c:pt>
                <c:pt idx="3">
                  <c:v>3.9468468948909249E-2</c:v>
                </c:pt>
                <c:pt idx="4">
                  <c:v>5.1557744079106287E-2</c:v>
                </c:pt>
                <c:pt idx="5">
                  <c:v>0.10236317325345326</c:v>
                </c:pt>
                <c:pt idx="6">
                  <c:v>0.13074660672941371</c:v>
                </c:pt>
                <c:pt idx="7">
                  <c:v>0.17793801242919713</c:v>
                </c:pt>
                <c:pt idx="8">
                  <c:v>0.25642052623088829</c:v>
                </c:pt>
                <c:pt idx="9">
                  <c:v>0.10337145839958195</c:v>
                </c:pt>
                <c:pt idx="10">
                  <c:v>8.18024521837664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16802825232E-2</c:v>
                </c:pt>
                <c:pt idx="1">
                  <c:v>1.6257884832080134E-2</c:v>
                </c:pt>
                <c:pt idx="2">
                  <c:v>2.1276504885351145E-2</c:v>
                </c:pt>
                <c:pt idx="3">
                  <c:v>3.9468468948909249E-2</c:v>
                </c:pt>
                <c:pt idx="4">
                  <c:v>5.1557744079106287E-2</c:v>
                </c:pt>
                <c:pt idx="5">
                  <c:v>0.10236317325345326</c:v>
                </c:pt>
                <c:pt idx="6">
                  <c:v>0.13074660672941371</c:v>
                </c:pt>
                <c:pt idx="7">
                  <c:v>0.17793801242919713</c:v>
                </c:pt>
                <c:pt idx="8">
                  <c:v>0.25642052623088829</c:v>
                </c:pt>
                <c:pt idx="9">
                  <c:v>0.10337145839958195</c:v>
                </c:pt>
                <c:pt idx="10">
                  <c:v>8.18024521837664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8028025313964308E-8</c:v>
                </c:pt>
                <c:pt idx="2">
                  <c:v>9.0365476886246094E-8</c:v>
                </c:pt>
                <c:pt idx="3">
                  <c:v>1.0013581703572184E-2</c:v>
                </c:pt>
                <c:pt idx="4">
                  <c:v>1.6761301889800756E-3</c:v>
                </c:pt>
                <c:pt idx="5">
                  <c:v>7.5154465737778562E-3</c:v>
                </c:pt>
                <c:pt idx="6">
                  <c:v>2.830410340406952E-3</c:v>
                </c:pt>
                <c:pt idx="7">
                  <c:v>7.1996250911686537E-3</c:v>
                </c:pt>
                <c:pt idx="8">
                  <c:v>3.0056053383061584E-3</c:v>
                </c:pt>
                <c:pt idx="9">
                  <c:v>4.0477423836178363E-6</c:v>
                </c:pt>
                <c:pt idx="10">
                  <c:v>6.9538600642288831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523545075084427E-4</c:v>
                </c:pt>
                <c:pt idx="1">
                  <c:v>1.578958005786226E-3</c:v>
                </c:pt>
                <c:pt idx="2">
                  <c:v>3.8071024989245095E-3</c:v>
                </c:pt>
                <c:pt idx="3">
                  <c:v>5.687030950766927E-3</c:v>
                </c:pt>
                <c:pt idx="4">
                  <c:v>1.2586465533324534E-2</c:v>
                </c:pt>
                <c:pt idx="5">
                  <c:v>1.7584906592511305E-2</c:v>
                </c:pt>
                <c:pt idx="6">
                  <c:v>3.4019694352538828E-2</c:v>
                </c:pt>
                <c:pt idx="7">
                  <c:v>5.9863392579592355E-2</c:v>
                </c:pt>
                <c:pt idx="8">
                  <c:v>0.11957022392825001</c:v>
                </c:pt>
                <c:pt idx="9">
                  <c:v>7.3507803933626381E-2</c:v>
                </c:pt>
                <c:pt idx="10">
                  <c:v>6.819024113644636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080283757810302E-5</c:v>
                </c:pt>
                <c:pt idx="1">
                  <c:v>1.7327253434978873E-4</c:v>
                </c:pt>
                <c:pt idx="2">
                  <c:v>4.4456659723603138E-4</c:v>
                </c:pt>
                <c:pt idx="3">
                  <c:v>3.6217221174235457E-4</c:v>
                </c:pt>
                <c:pt idx="4">
                  <c:v>6.7714998276686414E-4</c:v>
                </c:pt>
                <c:pt idx="5">
                  <c:v>2.4506270014360187E-2</c:v>
                </c:pt>
                <c:pt idx="6">
                  <c:v>1.0857734298834956E-2</c:v>
                </c:pt>
                <c:pt idx="7">
                  <c:v>3.7320795476313961E-3</c:v>
                </c:pt>
                <c:pt idx="8">
                  <c:v>1.5009137828008088E-3</c:v>
                </c:pt>
                <c:pt idx="10">
                  <c:v>1.0275523728326807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5206691509659632E-5</c:v>
                </c:pt>
                <c:pt idx="2">
                  <c:v>1.4598441383330667E-4</c:v>
                </c:pt>
                <c:pt idx="3">
                  <c:v>4.7323566449156308E-8</c:v>
                </c:pt>
                <c:pt idx="4">
                  <c:v>5.9696110082003446E-3</c:v>
                </c:pt>
                <c:pt idx="5">
                  <c:v>5.7103770181981945E-7</c:v>
                </c:pt>
                <c:pt idx="6">
                  <c:v>1.4168770667360614E-2</c:v>
                </c:pt>
                <c:pt idx="7">
                  <c:v>4.1139250673479311E-3</c:v>
                </c:pt>
                <c:pt idx="8">
                  <c:v>2.0772322988656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81627574208693E-2</c:v>
                </c:pt>
                <c:pt idx="1">
                  <c:v>1.4505654291944121E-2</c:v>
                </c:pt>
                <c:pt idx="2">
                  <c:v>1.6878761009880412E-2</c:v>
                </c:pt>
                <c:pt idx="3">
                  <c:v>2.3405636759261338E-2</c:v>
                </c:pt>
                <c:pt idx="4">
                  <c:v>3.0648387365834473E-2</c:v>
                </c:pt>
                <c:pt idx="5">
                  <c:v>5.2755979035102096E-2</c:v>
                </c:pt>
                <c:pt idx="6">
                  <c:v>6.886999707027236E-2</c:v>
                </c:pt>
                <c:pt idx="7">
                  <c:v>0.10302899014345682</c:v>
                </c:pt>
                <c:pt idx="8">
                  <c:v>0.11157146019287471</c:v>
                </c:pt>
                <c:pt idx="9">
                  <c:v>2.9859606723571963E-2</c:v>
                </c:pt>
                <c:pt idx="10">
                  <c:v>1.359498166352756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41799999999999998</c:v>
                </c:pt>
                <c:pt idx="4">
                  <c:v>0.10249999999999999</c:v>
                </c:pt>
                <c:pt idx="5">
                  <c:v>0.1429</c:v>
                </c:pt>
                <c:pt idx="6">
                  <c:v>7.1800000000000003E-2</c:v>
                </c:pt>
                <c:pt idx="7">
                  <c:v>0.1661</c:v>
                </c:pt>
                <c:pt idx="8">
                  <c:v>5.1700000000000003E-2</c:v>
                </c:pt>
                <c:pt idx="9">
                  <c:v>4.6300000000000001E-2</c:v>
                </c:pt>
                <c:pt idx="10">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57</c:v>
                </c:pt>
                <c:pt idx="8">
                  <c:v>0.20795372780999538</c:v>
                </c:pt>
                <c:pt idx="9">
                  <c:v>0.13703616353638809</c:v>
                </c:pt>
                <c:pt idx="10">
                  <c:v>2.6717687349304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7415229367946326E-6</c:v>
                </c:pt>
                <c:pt idx="1">
                  <c:v>6.426479576343146E-7</c:v>
                </c:pt>
                <c:pt idx="2">
                  <c:v>4.4561341887096903E-6</c:v>
                </c:pt>
                <c:pt idx="3">
                  <c:v>1.687721138806102E-2</c:v>
                </c:pt>
                <c:pt idx="4">
                  <c:v>4.1377809660183397E-3</c:v>
                </c:pt>
                <c:pt idx="5">
                  <c:v>5.7693051247716251E-3</c:v>
                </c:pt>
                <c:pt idx="6">
                  <c:v>2.8979991016709087E-3</c:v>
                </c:pt>
                <c:pt idx="7">
                  <c:v>6.704058442431768E-3</c:v>
                </c:pt>
                <c:pt idx="8">
                  <c:v>2.0856655822744283E-3</c:v>
                </c:pt>
                <c:pt idx="9">
                  <c:v>1.8707747056201961E-3</c:v>
                </c:pt>
                <c:pt idx="10">
                  <c:v>2.142071522292026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391047572087941E-3</c:v>
                </c:pt>
                <c:pt idx="1">
                  <c:v>2.1760974128159269E-3</c:v>
                </c:pt>
                <c:pt idx="2">
                  <c:v>4.6734883283602981E-3</c:v>
                </c:pt>
                <c:pt idx="3">
                  <c:v>7.4046321693773025E-3</c:v>
                </c:pt>
                <c:pt idx="4">
                  <c:v>1.024889265131663E-2</c:v>
                </c:pt>
                <c:pt idx="5">
                  <c:v>3.3528355125194316E-2</c:v>
                </c:pt>
                <c:pt idx="6">
                  <c:v>3.4686229188508416E-2</c:v>
                </c:pt>
                <c:pt idx="7">
                  <c:v>5.1855161672868022E-2</c:v>
                </c:pt>
                <c:pt idx="8">
                  <c:v>8.3091045777973854E-2</c:v>
                </c:pt>
                <c:pt idx="9">
                  <c:v>0.10231532411148089</c:v>
                </c:pt>
                <c:pt idx="10">
                  <c:v>1.7488886364232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3726562065839961E-8</c:v>
                </c:pt>
                <c:pt idx="1">
                  <c:v>2.3666272942101448E-4</c:v>
                </c:pt>
                <c:pt idx="2">
                  <c:v>1.1425048392716256E-3</c:v>
                </c:pt>
                <c:pt idx="3">
                  <c:v>5.9962499570353405E-4</c:v>
                </c:pt>
                <c:pt idx="4">
                  <c:v>5.4016415905433594E-3</c:v>
                </c:pt>
                <c:pt idx="5">
                  <c:v>2.2037382977450795E-2</c:v>
                </c:pt>
                <c:pt idx="6">
                  <c:v>8.5982374591358716E-3</c:v>
                </c:pt>
                <c:pt idx="7">
                  <c:v>3.8348711700202424E-3</c:v>
                </c:pt>
                <c:pt idx="8">
                  <c:v>1.2438550598562307E-3</c:v>
                </c:pt>
                <c:pt idx="9">
                  <c:v>6.6649880967022722E-7</c:v>
                </c:pt>
                <c:pt idx="10">
                  <c:v>8.039062183437910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876399266549199E-5</c:v>
                </c:pt>
                <c:pt idx="2">
                  <c:v>3.7273581542790242E-6</c:v>
                </c:pt>
                <c:pt idx="3">
                  <c:v>2.2684810380823638E-6</c:v>
                </c:pt>
                <c:pt idx="4">
                  <c:v>5.8254288297067977E-3</c:v>
                </c:pt>
                <c:pt idx="5">
                  <c:v>2.8816122412749011E-3</c:v>
                </c:pt>
                <c:pt idx="6">
                  <c:v>1.3929193074528797E-2</c:v>
                </c:pt>
                <c:pt idx="7">
                  <c:v>8.9317796994320929E-3</c:v>
                </c:pt>
                <c:pt idx="8">
                  <c:v>1.400585368811422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32973209318443E-2</c:v>
                </c:pt>
                <c:pt idx="1">
                  <c:v>2.002661039561647E-2</c:v>
                </c:pt>
                <c:pt idx="2">
                  <c:v>1.9484122766059632E-2</c:v>
                </c:pt>
                <c:pt idx="3">
                  <c:v>2.8878612970130439E-2</c:v>
                </c:pt>
                <c:pt idx="4">
                  <c:v>3.4866024861439138E-2</c:v>
                </c:pt>
                <c:pt idx="5">
                  <c:v>5.4844211402186024E-2</c:v>
                </c:pt>
                <c:pt idx="6">
                  <c:v>7.3778894015320354E-2</c:v>
                </c:pt>
                <c:pt idx="7">
                  <c:v>0.11803795947904545</c:v>
                </c:pt>
                <c:pt idx="8">
                  <c:v>0.10752730770177668</c:v>
                </c:pt>
                <c:pt idx="9">
                  <c:v>3.2849398220477326E-2</c:v>
                </c:pt>
                <c:pt idx="10">
                  <c:v>9.19934120766563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299999999999999E-2</c:v>
                </c:pt>
                <c:pt idx="2">
                  <c:v>5.3400000000000003E-2</c:v>
                </c:pt>
                <c:pt idx="3">
                  <c:v>0.26860000000000001</c:v>
                </c:pt>
                <c:pt idx="4">
                  <c:v>0.15590000000000001</c:v>
                </c:pt>
                <c:pt idx="5">
                  <c:v>0.1182</c:v>
                </c:pt>
                <c:pt idx="6">
                  <c:v>3.5499999999999997E-2</c:v>
                </c:pt>
                <c:pt idx="7">
                  <c:v>0.30740000000000001</c:v>
                </c:pt>
                <c:pt idx="8">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82354452281674E-2</c:v>
                </c:pt>
                <c:pt idx="1">
                  <c:v>1.0631957095508139E-2</c:v>
                </c:pt>
                <c:pt idx="2">
                  <c:v>1.7221234411258928E-2</c:v>
                </c:pt>
                <c:pt idx="3">
                  <c:v>6.6807752221266531E-2</c:v>
                </c:pt>
                <c:pt idx="4">
                  <c:v>4.9250627776390617E-2</c:v>
                </c:pt>
                <c:pt idx="5">
                  <c:v>0.11852846252856482</c:v>
                </c:pt>
                <c:pt idx="6">
                  <c:v>0.13127207598354879</c:v>
                </c:pt>
                <c:pt idx="7">
                  <c:v>0.18044499841671938</c:v>
                </c:pt>
                <c:pt idx="8">
                  <c:v>0.23112965900723814</c:v>
                </c:pt>
                <c:pt idx="9">
                  <c:v>0.10923037007143091</c:v>
                </c:pt>
                <c:pt idx="10">
                  <c:v>6.89005080357921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2434220278421381E-4</c:v>
                </c:pt>
                <c:pt idx="2">
                  <c:v>2.102034168663126E-3</c:v>
                </c:pt>
                <c:pt idx="3">
                  <c:v>1.0576402164695872E-2</c:v>
                </c:pt>
                <c:pt idx="4">
                  <c:v>6.137762164272656E-3</c:v>
                </c:pt>
                <c:pt idx="5">
                  <c:v>4.6547806214410868E-3</c:v>
                </c:pt>
                <c:pt idx="6">
                  <c:v>1.3971078968719594E-3</c:v>
                </c:pt>
                <c:pt idx="7">
                  <c:v>1.2103558866146936E-2</c:v>
                </c:pt>
                <c:pt idx="8">
                  <c:v>1.8740460179451713E-3</c:v>
                </c:pt>
                <c:pt idx="9">
                  <c:v>1.7628174715799745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318278453820506E-5</c:v>
                </c:pt>
                <c:pt idx="1">
                  <c:v>2.1409505460530452E-4</c:v>
                </c:pt>
                <c:pt idx="2">
                  <c:v>2.8604767863093269E-3</c:v>
                </c:pt>
                <c:pt idx="3">
                  <c:v>2.0025337691118191E-2</c:v>
                </c:pt>
                <c:pt idx="4">
                  <c:v>8.8750651341420409E-3</c:v>
                </c:pt>
                <c:pt idx="5">
                  <c:v>1.5459361181512737E-2</c:v>
                </c:pt>
                <c:pt idx="6">
                  <c:v>2.5186635114514536E-2</c:v>
                </c:pt>
                <c:pt idx="7">
                  <c:v>5.4101569839050387E-2</c:v>
                </c:pt>
                <c:pt idx="8">
                  <c:v>7.1492076616312988E-2</c:v>
                </c:pt>
                <c:pt idx="9">
                  <c:v>7.5591646530215037E-2</c:v>
                </c:pt>
                <c:pt idx="10">
                  <c:v>5.76395933746987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9588590796085977E-7</c:v>
                </c:pt>
                <c:pt idx="1">
                  <c:v>1.3673180269660911E-5</c:v>
                </c:pt>
                <c:pt idx="2">
                  <c:v>8.0928855683636729E-4</c:v>
                </c:pt>
                <c:pt idx="3">
                  <c:v>9.2952492594495432E-4</c:v>
                </c:pt>
                <c:pt idx="4">
                  <c:v>4.3844342358540485E-3</c:v>
                </c:pt>
                <c:pt idx="5">
                  <c:v>2.6385172968077925E-2</c:v>
                </c:pt>
                <c:pt idx="6">
                  <c:v>1.0821758430918472E-2</c:v>
                </c:pt>
                <c:pt idx="7">
                  <c:v>7.2991359857347083E-3</c:v>
                </c:pt>
                <c:pt idx="8">
                  <c:v>6.8675005283172692E-4</c:v>
                </c:pt>
                <c:pt idx="9">
                  <c:v>2.8065450438619794E-6</c:v>
                </c:pt>
                <c:pt idx="10">
                  <c:v>1.5882810882552246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6123271647573525E-4</c:v>
                </c:pt>
                <c:pt idx="4">
                  <c:v>7.291419732227921E-3</c:v>
                </c:pt>
                <c:pt idx="5">
                  <c:v>2.5193105178244384E-4</c:v>
                </c:pt>
                <c:pt idx="6">
                  <c:v>2.1444850823517547E-2</c:v>
                </c:pt>
                <c:pt idx="7">
                  <c:v>4.4847926562657792E-3</c:v>
                </c:pt>
                <c:pt idx="8">
                  <c:v>2.396738677370582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012898085135681E-2</c:v>
                </c:pt>
                <c:pt idx="1">
                  <c:v>1.0404188860633174E-2</c:v>
                </c:pt>
                <c:pt idx="2">
                  <c:v>1.1449434899450104E-2</c:v>
                </c:pt>
                <c:pt idx="3">
                  <c:v>3.4915254723031766E-2</c:v>
                </c:pt>
                <c:pt idx="4">
                  <c:v>2.2561946509893946E-2</c:v>
                </c:pt>
                <c:pt idx="5">
                  <c:v>7.1777216705750629E-2</c:v>
                </c:pt>
                <c:pt idx="6">
                  <c:v>7.2421723717726261E-2</c:v>
                </c:pt>
                <c:pt idx="7">
                  <c:v>0.10245594106952158</c:v>
                </c:pt>
                <c:pt idx="8">
                  <c:v>0.13310939954644244</c:v>
                </c:pt>
                <c:pt idx="9">
                  <c:v>3.3635740714424857E-2</c:v>
                </c:pt>
                <c:pt idx="10">
                  <c:v>1.1260755832984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66596838760698E-2</c:v>
                </c:pt>
                <c:pt idx="1">
                  <c:v>6.5561221067472991E-4</c:v>
                </c:pt>
                <c:pt idx="2">
                  <c:v>1.8510121405579355E-3</c:v>
                </c:pt>
                <c:pt idx="3">
                  <c:v>0.14860482656659568</c:v>
                </c:pt>
                <c:pt idx="4">
                  <c:v>0.35492013915559961</c:v>
                </c:pt>
                <c:pt idx="5">
                  <c:v>9.2350015534680946E-2</c:v>
                </c:pt>
                <c:pt idx="6">
                  <c:v>2.4791251760488339E-2</c:v>
                </c:pt>
                <c:pt idx="7">
                  <c:v>0.12812412643390092</c:v>
                </c:pt>
                <c:pt idx="8">
                  <c:v>0.22102683231769249</c:v>
                </c:pt>
                <c:pt idx="9">
                  <c:v>7.43898586373716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4.5462389171793266E-3</c:v>
                </c:pt>
                <c:pt idx="3">
                  <c:v>1.0920196899541514E-3</c:v>
                </c:pt>
                <c:pt idx="4">
                  <c:v>7.4793589741056288E-4</c:v>
                </c:pt>
                <c:pt idx="5">
                  <c:v>2.9915856190704379E-3</c:v>
                </c:pt>
                <c:pt idx="6">
                  <c:v>2.2863010999986011E-3</c:v>
                </c:pt>
                <c:pt idx="7">
                  <c:v>6.5478725397634698E-3</c:v>
                </c:pt>
                <c:pt idx="8">
                  <c:v>7.709859672012065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523545075084427E-4</c:v>
                </c:pt>
                <c:pt idx="1">
                  <c:v>1.578958005786226E-3</c:v>
                </c:pt>
                <c:pt idx="2">
                  <c:v>3.8071024989245095E-3</c:v>
                </c:pt>
                <c:pt idx="3">
                  <c:v>5.687030950766927E-3</c:v>
                </c:pt>
                <c:pt idx="4">
                  <c:v>1.2586465533324534E-2</c:v>
                </c:pt>
                <c:pt idx="5">
                  <c:v>1.7584906592511305E-2</c:v>
                </c:pt>
                <c:pt idx="6">
                  <c:v>3.4019694352538828E-2</c:v>
                </c:pt>
                <c:pt idx="7">
                  <c:v>5.9863392579592355E-2</c:v>
                </c:pt>
                <c:pt idx="8">
                  <c:v>0.11957022392825001</c:v>
                </c:pt>
                <c:pt idx="9">
                  <c:v>7.3507803933626381E-2</c:v>
                </c:pt>
                <c:pt idx="10">
                  <c:v>6.819024113644636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080283757810302E-5</c:v>
                </c:pt>
                <c:pt idx="1">
                  <c:v>1.7327253434978873E-4</c:v>
                </c:pt>
                <c:pt idx="2">
                  <c:v>4.4456659723603138E-4</c:v>
                </c:pt>
                <c:pt idx="3">
                  <c:v>3.6217221174235457E-4</c:v>
                </c:pt>
                <c:pt idx="4">
                  <c:v>6.7714998276686414E-4</c:v>
                </c:pt>
                <c:pt idx="5">
                  <c:v>2.4506270014360187E-2</c:v>
                </c:pt>
                <c:pt idx="6">
                  <c:v>1.0857734298834956E-2</c:v>
                </c:pt>
                <c:pt idx="7">
                  <c:v>3.7320795476313961E-3</c:v>
                </c:pt>
                <c:pt idx="8">
                  <c:v>1.5009137828008088E-3</c:v>
                </c:pt>
                <c:pt idx="10">
                  <c:v>1.0275523728326807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5206691509659632E-5</c:v>
                </c:pt>
                <c:pt idx="2">
                  <c:v>1.4598441383330667E-4</c:v>
                </c:pt>
                <c:pt idx="3">
                  <c:v>4.7323566449156308E-8</c:v>
                </c:pt>
                <c:pt idx="4">
                  <c:v>5.9696110082003446E-3</c:v>
                </c:pt>
                <c:pt idx="5">
                  <c:v>5.7103770181981945E-7</c:v>
                </c:pt>
                <c:pt idx="6">
                  <c:v>1.4168770667360614E-2</c:v>
                </c:pt>
                <c:pt idx="7">
                  <c:v>4.1139250673479311E-3</c:v>
                </c:pt>
                <c:pt idx="8">
                  <c:v>2.0772322988656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81645602234005E-2</c:v>
                </c:pt>
                <c:pt idx="1">
                  <c:v>1.4505654291944121E-2</c:v>
                </c:pt>
                <c:pt idx="2">
                  <c:v>1.2332612458177969E-2</c:v>
                </c:pt>
                <c:pt idx="3">
                  <c:v>3.2327198772879373E-2</c:v>
                </c:pt>
                <c:pt idx="4">
                  <c:v>3.1576581657403985E-2</c:v>
                </c:pt>
                <c:pt idx="5">
                  <c:v>5.7279839989809511E-2</c:v>
                </c:pt>
                <c:pt idx="6">
                  <c:v>6.941410631068072E-2</c:v>
                </c:pt>
                <c:pt idx="7">
                  <c:v>0.10368074269486201</c:v>
                </c:pt>
                <c:pt idx="8">
                  <c:v>0.1068672058591688</c:v>
                </c:pt>
                <c:pt idx="9">
                  <c:v>2.986365446595558E-2</c:v>
                </c:pt>
                <c:pt idx="10">
                  <c:v>1.36019355235917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1395317086166374E-6</c:v>
                </c:pt>
                <c:pt idx="3">
                  <c:v>0.14600202847197744</c:v>
                </c:pt>
                <c:pt idx="4">
                  <c:v>0.35104206069768468</c:v>
                </c:pt>
                <c:pt idx="5">
                  <c:v>3.7264808670548297E-3</c:v>
                </c:pt>
                <c:pt idx="6">
                  <c:v>1.0554322766861421E-3</c:v>
                </c:pt>
                <c:pt idx="7">
                  <c:v>2.1482204450172616E-2</c:v>
                </c:pt>
                <c:pt idx="8">
                  <c:v>7.4165109735870052E-2</c:v>
                </c:pt>
                <c:pt idx="9">
                  <c:v>6.312923916629635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7675014475093403E-4</c:v>
                </c:pt>
                <c:pt idx="4">
                  <c:v>1.6905911833532806E-6</c:v>
                </c:pt>
                <c:pt idx="5">
                  <c:v>2.1512297923006631E-6</c:v>
                </c:pt>
                <c:pt idx="6">
                  <c:v>1.2273597014112044E-3</c:v>
                </c:pt>
                <c:pt idx="7">
                  <c:v>3.1594442371438792E-3</c:v>
                </c:pt>
                <c:pt idx="8">
                  <c:v>0.140384607119787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4381561206346031E-2</c:v>
                </c:pt>
                <c:pt idx="6">
                  <c:v>2.791883120313699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166596838760695E-2</c:v>
                </c:pt>
                <c:pt idx="1">
                  <c:v>6.5561221067472991E-4</c:v>
                </c:pt>
                <c:pt idx="2">
                  <c:v>1.4661224640983848E-3</c:v>
                </c:pt>
                <c:pt idx="3">
                  <c:v>2.6027980946182572E-3</c:v>
                </c:pt>
                <c:pt idx="4">
                  <c:v>3.8763878667315522E-3</c:v>
                </c:pt>
                <c:pt idx="5">
                  <c:v>4.2398222314877594E-3</c:v>
                </c:pt>
                <c:pt idx="6">
                  <c:v>1.9716576662077295E-2</c:v>
                </c:pt>
                <c:pt idx="7">
                  <c:v>0.10348247774658442</c:v>
                </c:pt>
                <c:pt idx="8">
                  <c:v>6.4771154620353651E-3</c:v>
                </c:pt>
                <c:pt idx="9">
                  <c:v>1.126061947107527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52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6306696888571608E-4</c:v>
                </c:pt>
                <c:pt idx="1">
                  <c:v>1.1067148522188636E-3</c:v>
                </c:pt>
                <c:pt idx="2">
                  <c:v>3.1917241394296705E-2</c:v>
                </c:pt>
                <c:pt idx="3">
                  <c:v>0.13974770750722393</c:v>
                </c:pt>
                <c:pt idx="4">
                  <c:v>0.31695016280460753</c:v>
                </c:pt>
                <c:pt idx="5">
                  <c:v>1.0432005279822222E-2</c:v>
                </c:pt>
                <c:pt idx="6">
                  <c:v>4.9663120821023532E-3</c:v>
                </c:pt>
                <c:pt idx="7">
                  <c:v>3.5720986788880867E-2</c:v>
                </c:pt>
                <c:pt idx="8">
                  <c:v>6.5527654846109049E-2</c:v>
                </c:pt>
                <c:pt idx="9">
                  <c:v>4.364436769423264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0194853834143125E-7</c:v>
                </c:pt>
                <c:pt idx="6">
                  <c:v>2.8578858975719765E-3</c:v>
                </c:pt>
                <c:pt idx="7">
                  <c:v>3.9156353241981738E-2</c:v>
                </c:pt>
                <c:pt idx="8">
                  <c:v>0.105837080739687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6462490913729043E-3</c:v>
                </c:pt>
                <c:pt idx="5">
                  <c:v>6.3878383003740671E-2</c:v>
                </c:pt>
                <c:pt idx="6">
                  <c:v>2.86635809583993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466777302797171E-2</c:v>
                </c:pt>
                <c:pt idx="1">
                  <c:v>1.5234435297718351E-4</c:v>
                </c:pt>
                <c:pt idx="2">
                  <c:v>8.143140674165023E-4</c:v>
                </c:pt>
                <c:pt idx="3">
                  <c:v>1.7742723371188839E-3</c:v>
                </c:pt>
                <c:pt idx="4">
                  <c:v>4.7086020389101807E-3</c:v>
                </c:pt>
                <c:pt idx="5">
                  <c:v>5.6849614496870295E-3</c:v>
                </c:pt>
                <c:pt idx="6">
                  <c:v>5.9957863554250923E-2</c:v>
                </c:pt>
                <c:pt idx="7">
                  <c:v>3.6411464480392841E-2</c:v>
                </c:pt>
                <c:pt idx="8">
                  <c:v>6.1730118085370107E-3</c:v>
                </c:pt>
                <c:pt idx="9">
                  <c:v>4.92693899580055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100304976349817E-3</c:v>
                </c:pt>
                <c:pt idx="3">
                  <c:v>0.26868346656608316</c:v>
                </c:pt>
                <c:pt idx="4">
                  <c:v>0.24448648886529212</c:v>
                </c:pt>
                <c:pt idx="5">
                  <c:v>9.7113091973844726E-2</c:v>
                </c:pt>
                <c:pt idx="6">
                  <c:v>2.9823957368037789E-2</c:v>
                </c:pt>
                <c:pt idx="7">
                  <c:v>0.16451004332234603</c:v>
                </c:pt>
                <c:pt idx="8">
                  <c:v>0.192309086341882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0069095556790994E-3</c:v>
                </c:pt>
                <c:pt idx="3">
                  <c:v>0.268558340397415</c:v>
                </c:pt>
                <c:pt idx="4">
                  <c:v>0.24395928571237493</c:v>
                </c:pt>
                <c:pt idx="5">
                  <c:v>2.5701874930795078E-6</c:v>
                </c:pt>
                <c:pt idx="6">
                  <c:v>6.3821951677642676E-4</c:v>
                </c:pt>
                <c:pt idx="7">
                  <c:v>2.994716900928766E-2</c:v>
                </c:pt>
                <c:pt idx="8">
                  <c:v>6.42050145197234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57805541397669E-5</c:v>
                </c:pt>
                <c:pt idx="6">
                  <c:v>8.9475570026935035E-3</c:v>
                </c:pt>
                <c:pt idx="7">
                  <c:v>6.4443255164490162E-3</c:v>
                </c:pt>
                <c:pt idx="8">
                  <c:v>0.10864830325400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9.7105355184962494E-2</c:v>
                </c:pt>
                <c:pt idx="6">
                  <c:v>1.503520343847026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3.1209419558822597E-6</c:v>
                </c:pt>
                <c:pt idx="3">
                  <c:v>1.2512616866818706E-4</c:v>
                </c:pt>
                <c:pt idx="4">
                  <c:v>5.0142259877741953E-4</c:v>
                </c:pt>
                <c:pt idx="5">
                  <c:v>5.1666013891496229E-6</c:v>
                </c:pt>
                <c:pt idx="6">
                  <c:v>5.2029774100975949E-3</c:v>
                </c:pt>
                <c:pt idx="7">
                  <c:v>0.12811854879660936</c:v>
                </c:pt>
                <c:pt idx="8">
                  <c:v>1.945576856814907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1.17E-2</c:v>
                </c:pt>
                <c:pt idx="7">
                  <c:v>0.14030000000000001</c:v>
                </c:pt>
                <c:pt idx="9">
                  <c:v>0.8479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681801079956994E-3</c:v>
                </c:pt>
                <c:pt idx="2">
                  <c:v>2.9228958218770959E-2</c:v>
                </c:pt>
                <c:pt idx="3">
                  <c:v>3.1519021903612604E-3</c:v>
                </c:pt>
                <c:pt idx="4">
                  <c:v>1.5768353612406562E-2</c:v>
                </c:pt>
                <c:pt idx="5">
                  <c:v>1.4096812643019339E-2</c:v>
                </c:pt>
                <c:pt idx="6">
                  <c:v>3.4586590784087837E-2</c:v>
                </c:pt>
                <c:pt idx="7">
                  <c:v>0.16463381743762401</c:v>
                </c:pt>
                <c:pt idx="8">
                  <c:v>0.2164237616324487</c:v>
                </c:pt>
                <c:pt idx="9">
                  <c:v>0.21428098529602463</c:v>
                </c:pt>
                <c:pt idx="10">
                  <c:v>0.3035696722641849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1195949308392695E-6</c:v>
                </c:pt>
                <c:pt idx="6">
                  <c:v>4.9095307393987487E-4</c:v>
                </c:pt>
                <c:pt idx="7">
                  <c:v>5.9047080093567903E-3</c:v>
                </c:pt>
                <c:pt idx="9">
                  <c:v>3.568871432906369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625455076117907E-6</c:v>
                </c:pt>
                <c:pt idx="4">
                  <c:v>1.09107021922553E-6</c:v>
                </c:pt>
                <c:pt idx="6">
                  <c:v>1.656315904563389E-3</c:v>
                </c:pt>
                <c:pt idx="7">
                  <c:v>2.7966411695679438E-3</c:v>
                </c:pt>
                <c:pt idx="8">
                  <c:v>0.20854387422975434</c:v>
                </c:pt>
                <c:pt idx="9">
                  <c:v>3.6684155452604165E-2</c:v>
                </c:pt>
                <c:pt idx="10">
                  <c:v>0.301188778766387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045150282728384E-6</c:v>
                </c:pt>
                <c:pt idx="2">
                  <c:v>4.421330300129599E-7</c:v>
                </c:pt>
                <c:pt idx="6">
                  <c:v>2.8195351031091307E-2</c:v>
                </c:pt>
                <c:pt idx="7">
                  <c:v>7.4512437088035413E-2</c:v>
                </c:pt>
                <c:pt idx="8">
                  <c:v>7.8442956937783206E-8</c:v>
                </c:pt>
                <c:pt idx="9">
                  <c:v>0.1412042682552877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8904895245563822E-3</c:v>
                </c:pt>
                <c:pt idx="2">
                  <c:v>1.9846988027208697E-2</c:v>
                </c:pt>
                <c:pt idx="3">
                  <c:v>6.2524028503945623E-4</c:v>
                </c:pt>
                <c:pt idx="4">
                  <c:v>5.6049346838301E-3</c:v>
                </c:pt>
                <c:pt idx="5">
                  <c:v>5.4087417173508002E-3</c:v>
                </c:pt>
                <c:pt idx="6">
                  <c:v>3.1756490127796983E-3</c:v>
                </c:pt>
                <c:pt idx="7">
                  <c:v>2.1727180130872516E-2</c:v>
                </c:pt>
                <c:pt idx="8">
                  <c:v>2.848449177036397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739039279725929E-3</c:v>
                </c:pt>
                <c:pt idx="2">
                  <c:v>9.3815280585322521E-3</c:v>
                </c:pt>
                <c:pt idx="3">
                  <c:v>2.526661905321804E-3</c:v>
                </c:pt>
                <c:pt idx="4">
                  <c:v>1.0162327858357236E-2</c:v>
                </c:pt>
                <c:pt idx="5">
                  <c:v>8.6880709256685375E-3</c:v>
                </c:pt>
                <c:pt idx="6">
                  <c:v>1.068321761713573E-3</c:v>
                </c:pt>
                <c:pt idx="7">
                  <c:v>5.9692851039791349E-2</c:v>
                </c:pt>
                <c:pt idx="8">
                  <c:v>5.031359782701029E-3</c:v>
                </c:pt>
                <c:pt idx="9">
                  <c:v>7.0384725906901847E-4</c:v>
                </c:pt>
                <c:pt idx="10">
                  <c:v>2.380893497797692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285</c:v>
                </c:pt>
                <c:pt idx="3">
                  <c:v>0.14899999999999999</c:v>
                </c:pt>
                <c:pt idx="4">
                  <c:v>2.6499999999999999E-2</c:v>
                </c:pt>
                <c:pt idx="5">
                  <c:v>0.106</c:v>
                </c:pt>
                <c:pt idx="6">
                  <c:v>9.4100000000000003E-2</c:v>
                </c:pt>
                <c:pt idx="7">
                  <c:v>0.25729999999999997</c:v>
                </c:pt>
                <c:pt idx="8">
                  <c:v>0.238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5500000000000001E-2</c:v>
                </c:pt>
                <c:pt idx="8">
                  <c:v>1.1999999999999999E-3</c:v>
                </c:pt>
                <c:pt idx="9">
                  <c:v>0.9433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5.3117914288242588E-3</c:v>
                </c:pt>
                <c:pt idx="8">
                  <c:v>1.1739368774773056E-4</c:v>
                </c:pt>
                <c:pt idx="9">
                  <c:v>9.02657475903552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7">
                  <c:v>2.7049562776030312E-2</c:v>
                </c:pt>
                <c:pt idx="8">
                  <c:v>4.2746587078764671E-2</c:v>
                </c:pt>
                <c:pt idx="9">
                  <c:v>0.27813644559724826</c:v>
                </c:pt>
                <c:pt idx="10">
                  <c:v>0.162882851097915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2928820236534203E-5</c:v>
                </c:pt>
                <c:pt idx="2">
                  <c:v>4.7118367084257985E-6</c:v>
                </c:pt>
                <c:pt idx="4">
                  <c:v>3.4187823005025577E-3</c:v>
                </c:pt>
                <c:pt idx="5">
                  <c:v>3.8619822582109498E-4</c:v>
                </c:pt>
                <c:pt idx="6">
                  <c:v>2.2537117206363508E-2</c:v>
                </c:pt>
                <c:pt idx="7">
                  <c:v>5.0549503590764343E-2</c:v>
                </c:pt>
                <c:pt idx="8">
                  <c:v>6.4183490413710756E-2</c:v>
                </c:pt>
                <c:pt idx="9">
                  <c:v>0.1155602086539201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8156097404007821E-6</c:v>
                </c:pt>
                <c:pt idx="6">
                  <c:v>4.5803649719760638E-3</c:v>
                </c:pt>
                <c:pt idx="7">
                  <c:v>1.73139312922269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6.3913191878632279E-3</c:v>
                </c:pt>
                <c:pt idx="1">
                  <c:v>2.8111852108087237E-3</c:v>
                </c:pt>
                <c:pt idx="2">
                  <c:v>1.1729083180007101E-2</c:v>
                </c:pt>
                <c:pt idx="3">
                  <c:v>7.5748521230272056E-3</c:v>
                </c:pt>
                <c:pt idx="4">
                  <c:v>1.5590433362562044E-2</c:v>
                </c:pt>
                <c:pt idx="5">
                  <c:v>1.1300535885233449E-2</c:v>
                </c:pt>
                <c:pt idx="6">
                  <c:v>1.7164933821678816E-2</c:v>
                </c:pt>
                <c:pt idx="7">
                  <c:v>3.4588731355204683E-2</c:v>
                </c:pt>
                <c:pt idx="8">
                  <c:v>5.3309260827743296E-3</c:v>
                </c:pt>
                <c:pt idx="10">
                  <c:v>2.45756761198369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1052</c:v>
                </c:pt>
                <c:pt idx="7">
                  <c:v>4.4499999999999998E-2</c:v>
                </c:pt>
                <c:pt idx="8">
                  <c:v>0.60470000000000002</c:v>
                </c:pt>
                <c:pt idx="9">
                  <c:v>0.1754</c:v>
                </c:pt>
                <c:pt idx="10">
                  <c:v>7.009999999999999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8030213217652804E-3</c:v>
                </c:pt>
                <c:pt idx="1">
                  <c:v>1.1362180091267829E-3</c:v>
                </c:pt>
                <c:pt idx="2">
                  <c:v>3.9025085112910272E-2</c:v>
                </c:pt>
                <c:pt idx="3">
                  <c:v>1.0743820448448566E-2</c:v>
                </c:pt>
                <c:pt idx="4">
                  <c:v>8.5138449354333519E-3</c:v>
                </c:pt>
                <c:pt idx="5">
                  <c:v>1.0761112831630315E-2</c:v>
                </c:pt>
                <c:pt idx="6">
                  <c:v>7.763991842218361E-2</c:v>
                </c:pt>
                <c:pt idx="7">
                  <c:v>0.17609201899160237</c:v>
                </c:pt>
                <c:pt idx="8">
                  <c:v>0.21875489647669405</c:v>
                </c:pt>
                <c:pt idx="9">
                  <c:v>0.24424792129717071</c:v>
                </c:pt>
                <c:pt idx="10">
                  <c:v>0.2072821421530346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3.1674167214092346E-6</c:v>
                </c:pt>
                <c:pt idx="7">
                  <c:v>1.341158431587694E-6</c:v>
                </c:pt>
                <c:pt idx="8">
                  <c:v>1.8205512326658483E-5</c:v>
                </c:pt>
                <c:pt idx="9">
                  <c:v>5.2790278690153906E-6</c:v>
                </c:pt>
                <c:pt idx="10">
                  <c:v>2.111611147606156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3.0818108640738497E-6</c:v>
                </c:pt>
                <c:pt idx="8">
                  <c:v>0.20184913788195871</c:v>
                </c:pt>
                <c:pt idx="9">
                  <c:v>5.4465299965349601E-2</c:v>
                </c:pt>
                <c:pt idx="10">
                  <c:v>0.203346555538469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3551789018315117E-4</c:v>
                </c:pt>
                <c:pt idx="6">
                  <c:v>6.7900226144993317E-2</c:v>
                </c:pt>
                <c:pt idx="7">
                  <c:v>0.10057367053176161</c:v>
                </c:pt>
                <c:pt idx="8">
                  <c:v>1.9984972747803345E-3</c:v>
                </c:pt>
                <c:pt idx="9">
                  <c:v>0.1897773423039521</c:v>
                </c:pt>
                <c:pt idx="10">
                  <c:v>3.933475003417814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5350938786647117E-3</c:v>
                </c:pt>
                <c:pt idx="2">
                  <c:v>2.4527162467447301E-2</c:v>
                </c:pt>
                <c:pt idx="3">
                  <c:v>8.811268219102256E-3</c:v>
                </c:pt>
                <c:pt idx="4">
                  <c:v>4.7982939095056491E-3</c:v>
                </c:pt>
                <c:pt idx="5">
                  <c:v>3.2719414732157392E-3</c:v>
                </c:pt>
                <c:pt idx="6">
                  <c:v>7.4973039148614369E-3</c:v>
                </c:pt>
                <c:pt idx="7">
                  <c:v>1.525713245888472E-2</c:v>
                </c:pt>
                <c:pt idx="8">
                  <c:v>4.12643060585177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679274431005687E-3</c:v>
                </c:pt>
                <c:pt idx="1">
                  <c:v>1.1362180091267829E-3</c:v>
                </c:pt>
                <c:pt idx="2">
                  <c:v>1.4497922645462971E-2</c:v>
                </c:pt>
                <c:pt idx="3">
                  <c:v>1.9325522293463099E-3</c:v>
                </c:pt>
                <c:pt idx="4">
                  <c:v>3.7155510259277028E-3</c:v>
                </c:pt>
                <c:pt idx="5">
                  <c:v>7.1536534682314244E-3</c:v>
                </c:pt>
                <c:pt idx="6">
                  <c:v>2.2361391347433626E-3</c:v>
                </c:pt>
                <c:pt idx="7">
                  <c:v>6.0259874842524458E-2</c:v>
                </c:pt>
                <c:pt idx="8">
                  <c:v>1.07626252017765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3105</c:v>
                </c:pt>
                <c:pt idx="4">
                  <c:v>5.1999999999999998E-2</c:v>
                </c:pt>
                <c:pt idx="5">
                  <c:v>0.23300000000000001</c:v>
                </c:pt>
                <c:pt idx="6">
                  <c:v>8.7800000000000003E-2</c:v>
                </c:pt>
                <c:pt idx="7">
                  <c:v>0.22320000000000001</c:v>
                </c:pt>
                <c:pt idx="8">
                  <c:v>9.320000000000000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7.4054053967207621E-7</c:v>
                </c:pt>
                <c:pt idx="3">
                  <c:v>8.2060798596221757E-2</c:v>
                </c:pt>
                <c:pt idx="4">
                  <c:v>1.3735802625934962E-2</c:v>
                </c:pt>
                <c:pt idx="5">
                  <c:v>6.1588706809217263E-2</c:v>
                </c:pt>
                <c:pt idx="6">
                  <c:v>2.3195070431785789E-2</c:v>
                </c:pt>
                <c:pt idx="7">
                  <c:v>5.9000565638160689E-2</c:v>
                </c:pt>
                <c:pt idx="8">
                  <c:v>2.4630784631086092E-2</c:v>
                </c:pt>
                <c:pt idx="9">
                  <c:v>3.3171045320672899E-5</c:v>
                </c:pt>
                <c:pt idx="10">
                  <c:v>5.698653359900480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8348675945187E-2</c:v>
                </c:pt>
                <c:pt idx="1">
                  <c:v>6.9038415366902443E-3</c:v>
                </c:pt>
                <c:pt idx="2">
                  <c:v>1.7361982186284391E-3</c:v>
                </c:pt>
                <c:pt idx="3">
                  <c:v>1.8755435712991535E-3</c:v>
                </c:pt>
                <c:pt idx="4">
                  <c:v>0.10477416679766324</c:v>
                </c:pt>
                <c:pt idx="5">
                  <c:v>5.0671865007636957E-3</c:v>
                </c:pt>
                <c:pt idx="6">
                  <c:v>2.6783593228682716E-2</c:v>
                </c:pt>
                <c:pt idx="7">
                  <c:v>6.6655607066131453E-2</c:v>
                </c:pt>
                <c:pt idx="8">
                  <c:v>4.4421204234486155E-3</c:v>
                </c:pt>
                <c:pt idx="10">
                  <c:v>2.58592693637560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1.9236787063778384E-3</c:v>
                </c:pt>
                <c:pt idx="5">
                  <c:v>9.3823032982912943E-3</c:v>
                </c:pt>
                <c:pt idx="6">
                  <c:v>5.4704191349204496E-3</c:v>
                </c:pt>
                <c:pt idx="7">
                  <c:v>6.9353981666997425E-2</c:v>
                </c:pt>
                <c:pt idx="8">
                  <c:v>4.7075678262511508E-2</c:v>
                </c:pt>
                <c:pt idx="9">
                  <c:v>4.8835529456781143E-2</c:v>
                </c:pt>
                <c:pt idx="10">
                  <c:v>3.21166707178789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7256199349716392E-2</c:v>
                </c:pt>
                <c:pt idx="3">
                  <c:v>8.9490464544238445E-3</c:v>
                </c:pt>
                <c:pt idx="4">
                  <c:v>6.129297074432178E-3</c:v>
                </c:pt>
                <c:pt idx="5">
                  <c:v>2.4515893736835173E-2</c:v>
                </c:pt>
                <c:pt idx="6">
                  <c:v>1.5661540441294683E-2</c:v>
                </c:pt>
                <c:pt idx="7">
                  <c:v>5.1338440136598447E-2</c:v>
                </c:pt>
                <c:pt idx="8">
                  <c:v>5.778867381508910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7470243266699317E-6</c:v>
                </c:pt>
                <c:pt idx="3">
                  <c:v>3.6565343355379327E-7</c:v>
                </c:pt>
                <c:pt idx="4">
                  <c:v>5.0945865007315628E-5</c:v>
                </c:pt>
                <c:pt idx="5">
                  <c:v>4.0844195827277142E-2</c:v>
                </c:pt>
                <c:pt idx="6">
                  <c:v>1.2166102297520376E-2</c:v>
                </c:pt>
                <c:pt idx="7">
                  <c:v>1.3088908146677429E-2</c:v>
                </c:pt>
                <c:pt idx="8">
                  <c:v>3.3761065917136714E-2</c:v>
                </c:pt>
                <c:pt idx="9">
                  <c:v>1.94449509780722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41799999999999998</c:v>
                </c:pt>
                <c:pt idx="4">
                  <c:v>0.10249999999999999</c:v>
                </c:pt>
                <c:pt idx="5">
                  <c:v>0.1429</c:v>
                </c:pt>
                <c:pt idx="6">
                  <c:v>7.1800000000000003E-2</c:v>
                </c:pt>
                <c:pt idx="7">
                  <c:v>0.1661</c:v>
                </c:pt>
                <c:pt idx="8">
                  <c:v>5.1700000000000003E-2</c:v>
                </c:pt>
                <c:pt idx="9">
                  <c:v>4.6300000000000001E-2</c:v>
                </c:pt>
                <c:pt idx="10">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57</c:v>
                </c:pt>
                <c:pt idx="8">
                  <c:v>0.20795372780999538</c:v>
                </c:pt>
                <c:pt idx="9">
                  <c:v>0.13703616353638809</c:v>
                </c:pt>
                <c:pt idx="10">
                  <c:v>2.6717687349304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856614831110494E-5</c:v>
                </c:pt>
                <c:pt idx="1">
                  <c:v>5.0857004490138715E-6</c:v>
                </c:pt>
                <c:pt idx="2">
                  <c:v>3.5264351773265254E-5</c:v>
                </c:pt>
                <c:pt idx="3">
                  <c:v>0.13356059179014013</c:v>
                </c:pt>
                <c:pt idx="4">
                  <c:v>3.2745011116607166E-2</c:v>
                </c:pt>
                <c:pt idx="5">
                  <c:v>4.5656346239016515E-2</c:v>
                </c:pt>
                <c:pt idx="6">
                  <c:v>2.2933793156152984E-2</c:v>
                </c:pt>
                <c:pt idx="7">
                  <c:v>5.3053670560782258E-2</c:v>
                </c:pt>
                <c:pt idx="8">
                  <c:v>1.6505258068993306E-2</c:v>
                </c:pt>
                <c:pt idx="9">
                  <c:v>1.4804683726685523E-2</c:v>
                </c:pt>
                <c:pt idx="10">
                  <c:v>1.695163576469242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591776466415062E-2</c:v>
                </c:pt>
                <c:pt idx="1">
                  <c:v>1.5611160472115745E-2</c:v>
                </c:pt>
                <c:pt idx="2">
                  <c:v>4.5091497937806138E-3</c:v>
                </c:pt>
                <c:pt idx="3">
                  <c:v>2.2503123458954121E-3</c:v>
                </c:pt>
                <c:pt idx="4">
                  <c:v>9.2942297705621374E-2</c:v>
                </c:pt>
                <c:pt idx="5">
                  <c:v>5.9604618982048718E-3</c:v>
                </c:pt>
                <c:pt idx="6">
                  <c:v>3.4556862681935428E-3</c:v>
                </c:pt>
                <c:pt idx="7">
                  <c:v>3.8628411545534092E-2</c:v>
                </c:pt>
                <c:pt idx="8">
                  <c:v>4.4743153671999457E-2</c:v>
                </c:pt>
                <c:pt idx="10">
                  <c:v>4.3540936029773809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9284107444051948E-7</c:v>
                </c:pt>
                <c:pt idx="1">
                  <c:v>1.3956839788943221E-5</c:v>
                </c:pt>
                <c:pt idx="2">
                  <c:v>3.0743646429186058E-2</c:v>
                </c:pt>
                <c:pt idx="3">
                  <c:v>3.564450001734381E-2</c:v>
                </c:pt>
                <c:pt idx="4">
                  <c:v>6.3327037131317649E-3</c:v>
                </c:pt>
                <c:pt idx="5">
                  <c:v>2.5358413952695731E-2</c:v>
                </c:pt>
                <c:pt idx="6">
                  <c:v>1.714739853104838E-2</c:v>
                </c:pt>
                <c:pt idx="7">
                  <c:v>5.4161420006419936E-2</c:v>
                </c:pt>
                <c:pt idx="8">
                  <c:v>5.3248888056162243E-2</c:v>
                </c:pt>
                <c:pt idx="9">
                  <c:v>3.4603735013908812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4.1209902607473226E-6</c:v>
                </c:pt>
                <c:pt idx="5">
                  <c:v>2.1621063767469275E-2</c:v>
                </c:pt>
                <c:pt idx="6">
                  <c:v>8.9742060403692619E-3</c:v>
                </c:pt>
                <c:pt idx="7">
                  <c:v>3.1776012162394951E-2</c:v>
                </c:pt>
                <c:pt idx="8">
                  <c:v>3.6309541860389913E-2</c:v>
                </c:pt>
                <c:pt idx="9">
                  <c:v>5.1323840333417263E-3</c:v>
                </c:pt>
                <c:pt idx="10">
                  <c:v>8.71394400914343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516635273738823E-7</c:v>
                </c:pt>
                <c:pt idx="2">
                  <c:v>6.9207470027817628E-6</c:v>
                </c:pt>
                <c:pt idx="3">
                  <c:v>8.2681954722627565E-5</c:v>
                </c:pt>
                <c:pt idx="4">
                  <c:v>1.5063425290766795E-3</c:v>
                </c:pt>
                <c:pt idx="5">
                  <c:v>3.0575252071432007E-2</c:v>
                </c:pt>
                <c:pt idx="6">
                  <c:v>1.9996229660920725E-2</c:v>
                </c:pt>
                <c:pt idx="7">
                  <c:v>3.3481902896718506E-2</c:v>
                </c:pt>
                <c:pt idx="8">
                  <c:v>2.254635715576089E-2</c:v>
                </c:pt>
                <c:pt idx="9">
                  <c:v>3.124822131559038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299999999999999E-2</c:v>
                </c:pt>
                <c:pt idx="2">
                  <c:v>5.3400000000000003E-2</c:v>
                </c:pt>
                <c:pt idx="3">
                  <c:v>0.26860000000000001</c:v>
                </c:pt>
                <c:pt idx="4">
                  <c:v>0.15590000000000001</c:v>
                </c:pt>
                <c:pt idx="5">
                  <c:v>0.1182</c:v>
                </c:pt>
                <c:pt idx="6">
                  <c:v>3.5499999999999997E-2</c:v>
                </c:pt>
                <c:pt idx="7">
                  <c:v>0.30740000000000001</c:v>
                </c:pt>
                <c:pt idx="8">
                  <c:v>4.76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pt idx="9">
                  <c:v>1.325724218857694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4747136481628206E-2</c:v>
                </c:pt>
                <c:pt idx="2">
                  <c:v>1.3625819773384115E-3</c:v>
                </c:pt>
                <c:pt idx="3">
                  <c:v>0.12608331685803781</c:v>
                </c:pt>
                <c:pt idx="4">
                  <c:v>1.1732619958943502E-2</c:v>
                </c:pt>
                <c:pt idx="5">
                  <c:v>6.2114905007134369E-3</c:v>
                </c:pt>
                <c:pt idx="6">
                  <c:v>2.029408133441467E-3</c:v>
                </c:pt>
                <c:pt idx="7">
                  <c:v>3.6855776457379794E-2</c:v>
                </c:pt>
                <c:pt idx="8">
                  <c:v>4.41249717430414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1.4569840425069714E-6</c:v>
                </c:pt>
                <c:pt idx="6">
                  <c:v>5.9329440289473069E-6</c:v>
                </c:pt>
                <c:pt idx="7">
                  <c:v>4.9444538616075701E-2</c:v>
                </c:pt>
                <c:pt idx="8">
                  <c:v>8.8206601492313936E-6</c:v>
                </c:pt>
                <c:pt idx="9">
                  <c:v>8.959845441032614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7.4718342014114258E-4</c:v>
                </c:pt>
                <c:pt idx="1">
                  <c:v>1.7339094554510329E-2</c:v>
                </c:pt>
                <c:pt idx="2">
                  <c:v>3.0917818303169083E-2</c:v>
                </c:pt>
                <c:pt idx="4">
                  <c:v>1.9132431895118571E-4</c:v>
                </c:pt>
                <c:pt idx="5">
                  <c:v>3.7265307107165531E-2</c:v>
                </c:pt>
                <c:pt idx="6">
                  <c:v>2.8448033461384293E-2</c:v>
                </c:pt>
                <c:pt idx="7">
                  <c:v>4.4328122572103452E-2</c:v>
                </c:pt>
                <c:pt idx="8">
                  <c:v>5.59890352893873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6.5629911824638341E-7</c:v>
                </c:pt>
                <c:pt idx="4">
                  <c:v>8.6656554234839627E-3</c:v>
                </c:pt>
                <c:pt idx="5">
                  <c:v>4.3521307814078439E-2</c:v>
                </c:pt>
                <c:pt idx="6">
                  <c:v>5.1946337728848548E-3</c:v>
                </c:pt>
                <c:pt idx="7">
                  <c:v>1.5923785506012002E-3</c:v>
                </c:pt>
                <c:pt idx="8">
                  <c:v>3.71431829672422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638345262747E-2</c:v>
                </c:pt>
                <c:pt idx="2">
                  <c:v>2.317484993668747E-3</c:v>
                </c:pt>
                <c:pt idx="3">
                  <c:v>5.4889790522628559E-2</c:v>
                </c:pt>
                <c:pt idx="4">
                  <c:v>2.1417360193585859E-2</c:v>
                </c:pt>
                <c:pt idx="5">
                  <c:v>5.4955204292333013E-2</c:v>
                </c:pt>
                <c:pt idx="6">
                  <c:v>0.14927649358998393</c:v>
                </c:pt>
                <c:pt idx="7">
                  <c:v>0.13228898853114029</c:v>
                </c:pt>
                <c:pt idx="8">
                  <c:v>0.31299544147474445</c:v>
                </c:pt>
                <c:pt idx="9">
                  <c:v>0.14351406891192672</c:v>
                </c:pt>
                <c:pt idx="10">
                  <c:v>0.1132503095121440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6.758116748491954E-3</c:v>
                </c:pt>
                <c:pt idx="7">
                  <c:v>7.6793479547296914E-4</c:v>
                </c:pt>
                <c:pt idx="8">
                  <c:v>2.2935538054355796E-2</c:v>
                </c:pt>
                <c:pt idx="9">
                  <c:v>7.3022660437260606E-2</c:v>
                </c:pt>
                <c:pt idx="10">
                  <c:v>0.105464844091205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1985164985288267E-2</c:v>
                </c:pt>
                <c:pt idx="2">
                  <c:v>1.2722889935880576E-3</c:v>
                </c:pt>
                <c:pt idx="3">
                  <c:v>4.111799119349209E-2</c:v>
                </c:pt>
                <c:pt idx="4">
                  <c:v>1.964400100591961E-2</c:v>
                </c:pt>
                <c:pt idx="5">
                  <c:v>3.6843658710064488E-2</c:v>
                </c:pt>
                <c:pt idx="6">
                  <c:v>5.2783186464269542E-2</c:v>
                </c:pt>
                <c:pt idx="7">
                  <c:v>1.9659083486418913E-2</c:v>
                </c:pt>
                <c:pt idx="8">
                  <c:v>9.88960655107667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5625255554798197E-4</c:v>
                </c:pt>
                <c:pt idx="5">
                  <c:v>8.6256453129647838E-3</c:v>
                </c:pt>
                <c:pt idx="6">
                  <c:v>1.1454911291099035E-2</c:v>
                </c:pt>
                <c:pt idx="7">
                  <c:v>2.2883483224079806E-2</c:v>
                </c:pt>
                <c:pt idx="8">
                  <c:v>5.3296031196739709E-2</c:v>
                </c:pt>
                <c:pt idx="9">
                  <c:v>7.2520189866062349E-3</c:v>
                </c:pt>
                <c:pt idx="10">
                  <c:v>8.01316434685394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2.7844733599744808E-3</c:v>
                </c:pt>
                <c:pt idx="2">
                  <c:v>1.0451960000806893E-3</c:v>
                </c:pt>
                <c:pt idx="3">
                  <c:v>1.3771799329136473E-2</c:v>
                </c:pt>
                <c:pt idx="4">
                  <c:v>1.517106632118266E-3</c:v>
                </c:pt>
                <c:pt idx="5">
                  <c:v>9.485900269303741E-3</c:v>
                </c:pt>
                <c:pt idx="6">
                  <c:v>7.8280279086123408E-2</c:v>
                </c:pt>
                <c:pt idx="7">
                  <c:v>8.8978487025168598E-2</c:v>
                </c:pt>
                <c:pt idx="8">
                  <c:v>0.13786780671288218</c:v>
                </c:pt>
                <c:pt idx="9">
                  <c:v>6.3239389488059877E-2</c:v>
                </c:pt>
                <c:pt idx="10">
                  <c:v>6.98414898625346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2277224760438732E-8</c:v>
                </c:pt>
                <c:pt idx="1">
                  <c:v>1.7636380033222116E-6</c:v>
                </c:pt>
                <c:pt idx="2">
                  <c:v>3.8848811065502098E-3</c:v>
                </c:pt>
                <c:pt idx="3">
                  <c:v>4.5041711297573537E-3</c:v>
                </c:pt>
                <c:pt idx="4">
                  <c:v>8.0022391179891315E-4</c:v>
                </c:pt>
                <c:pt idx="5">
                  <c:v>3.2043831717822372E-3</c:v>
                </c:pt>
                <c:pt idx="6">
                  <c:v>2.846086397167409E-3</c:v>
                </c:pt>
                <c:pt idx="7">
                  <c:v>7.7798020967602037E-3</c:v>
                </c:pt>
                <c:pt idx="8">
                  <c:v>7.211375340566979E-3</c:v>
                </c:pt>
                <c:pt idx="9">
                  <c:v>4.3726562065839961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391047572087941E-3</c:v>
                </c:pt>
                <c:pt idx="1">
                  <c:v>2.1760974128159269E-3</c:v>
                </c:pt>
                <c:pt idx="2">
                  <c:v>4.6734883283602981E-3</c:v>
                </c:pt>
                <c:pt idx="3">
                  <c:v>7.4046321693773025E-3</c:v>
                </c:pt>
                <c:pt idx="4">
                  <c:v>1.024889265131663E-2</c:v>
                </c:pt>
                <c:pt idx="5">
                  <c:v>3.3528355125194316E-2</c:v>
                </c:pt>
                <c:pt idx="6">
                  <c:v>3.4686229188508416E-2</c:v>
                </c:pt>
                <c:pt idx="7">
                  <c:v>5.1855161672868022E-2</c:v>
                </c:pt>
                <c:pt idx="8">
                  <c:v>8.3091045777973854E-2</c:v>
                </c:pt>
                <c:pt idx="9">
                  <c:v>0.10231532411148089</c:v>
                </c:pt>
                <c:pt idx="10">
                  <c:v>1.7488886364232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3726562065839961E-8</c:v>
                </c:pt>
                <c:pt idx="1">
                  <c:v>2.3666272942101448E-4</c:v>
                </c:pt>
                <c:pt idx="2">
                  <c:v>1.1425048392716256E-3</c:v>
                </c:pt>
                <c:pt idx="3">
                  <c:v>5.9962499570353405E-4</c:v>
                </c:pt>
                <c:pt idx="4">
                  <c:v>5.4016415905433594E-3</c:v>
                </c:pt>
                <c:pt idx="5">
                  <c:v>2.2037382977450795E-2</c:v>
                </c:pt>
                <c:pt idx="6">
                  <c:v>8.5982374591358716E-3</c:v>
                </c:pt>
                <c:pt idx="7">
                  <c:v>3.8348711700202424E-3</c:v>
                </c:pt>
                <c:pt idx="8">
                  <c:v>1.2438550598562307E-3</c:v>
                </c:pt>
                <c:pt idx="9">
                  <c:v>6.6649880967022722E-7</c:v>
                </c:pt>
                <c:pt idx="10">
                  <c:v>8.039062183437910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7415229367946326E-6</c:v>
                </c:pt>
                <c:pt idx="1">
                  <c:v>6.426479576343146E-7</c:v>
                </c:pt>
                <c:pt idx="2">
                  <c:v>4.4561341887096903E-6</c:v>
                </c:pt>
                <c:pt idx="3">
                  <c:v>1.687721138806102E-2</c:v>
                </c:pt>
                <c:pt idx="4">
                  <c:v>4.1377809660183397E-3</c:v>
                </c:pt>
                <c:pt idx="5">
                  <c:v>5.7693051247716251E-3</c:v>
                </c:pt>
                <c:pt idx="6">
                  <c:v>2.8979991016709087E-3</c:v>
                </c:pt>
                <c:pt idx="7">
                  <c:v>6.704058442431768E-3</c:v>
                </c:pt>
                <c:pt idx="8">
                  <c:v>2.0856655822744283E-3</c:v>
                </c:pt>
                <c:pt idx="9">
                  <c:v>1.8707747056201961E-3</c:v>
                </c:pt>
                <c:pt idx="10">
                  <c:v>2.1420715222920265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44787331360232E-2</c:v>
                </c:pt>
                <c:pt idx="1">
                  <c:v>2.0024846757613145E-2</c:v>
                </c:pt>
                <c:pt idx="2">
                  <c:v>1.5602969017663703E-2</c:v>
                </c:pt>
                <c:pt idx="3">
                  <c:v>2.4376710321411168E-2</c:v>
                </c:pt>
                <c:pt idx="4">
                  <c:v>3.9891229779347018E-2</c:v>
                </c:pt>
                <c:pt idx="5">
                  <c:v>5.4521440471678687E-2</c:v>
                </c:pt>
                <c:pt idx="6">
                  <c:v>8.4862000692681752E-2</c:v>
                </c:pt>
                <c:pt idx="7">
                  <c:v>0.11918993708171734</c:v>
                </c:pt>
                <c:pt idx="8">
                  <c:v>0.11432178604932393</c:v>
                </c:pt>
                <c:pt idx="9">
                  <c:v>3.2849354493915267E-2</c:v>
                </c:pt>
                <c:pt idx="10">
                  <c:v>9.19934120766563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148203296867518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8.0028603535492416E-4</c:v>
                </c:pt>
                <c:pt idx="7">
                  <c:v>1.0742766677238561E-2</c:v>
                </c:pt>
                <c:pt idx="8">
                  <c:v>2.1433128089056962E-2</c:v>
                </c:pt>
                <c:pt idx="9">
                  <c:v>7.791538913009359E-2</c:v>
                </c:pt>
                <c:pt idx="10">
                  <c:v>3.96701157790020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725635203864748E-4</c:v>
                </c:pt>
                <c:pt idx="1">
                  <c:v>1.4215372774110923E-2</c:v>
                </c:pt>
                <c:pt idx="2">
                  <c:v>4.8549256504206023E-3</c:v>
                </c:pt>
                <c:pt idx="3">
                  <c:v>4.262140340943385E-2</c:v>
                </c:pt>
                <c:pt idx="4">
                  <c:v>1.8334792981554462E-2</c:v>
                </c:pt>
                <c:pt idx="5">
                  <c:v>2.6101512439191687E-2</c:v>
                </c:pt>
                <c:pt idx="6">
                  <c:v>4.2468163801257251E-2</c:v>
                </c:pt>
                <c:pt idx="7">
                  <c:v>6.5960171015402719E-2</c:v>
                </c:pt>
                <c:pt idx="8">
                  <c:v>6.18025525965915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8421592720662911E-7</c:v>
                </c:pt>
                <c:pt idx="3">
                  <c:v>3.9207895083318342E-5</c:v>
                </c:pt>
                <c:pt idx="4">
                  <c:v>3.5994509643752759E-3</c:v>
                </c:pt>
                <c:pt idx="5">
                  <c:v>6.7906948442288109E-3</c:v>
                </c:pt>
                <c:pt idx="6">
                  <c:v>6.4855648512478995E-4</c:v>
                </c:pt>
                <c:pt idx="7">
                  <c:v>4.5601069406954228E-2</c:v>
                </c:pt>
                <c:pt idx="8">
                  <c:v>3.610527105383772E-2</c:v>
                </c:pt>
                <c:pt idx="9">
                  <c:v>1.5523163373035199E-2</c:v>
                </c:pt>
                <c:pt idx="10">
                  <c:v>3.78884261072578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8.4413132732708528E-4</c:v>
                </c:pt>
                <c:pt idx="1">
                  <c:v>7.7984217392588302E-3</c:v>
                </c:pt>
                <c:pt idx="2">
                  <c:v>1.1611630787972808E-3</c:v>
                </c:pt>
                <c:pt idx="3">
                  <c:v>1.7287759903645793E-2</c:v>
                </c:pt>
                <c:pt idx="4">
                  <c:v>1.5682175155374016E-3</c:v>
                </c:pt>
                <c:pt idx="5">
                  <c:v>4.6362308381800013E-2</c:v>
                </c:pt>
                <c:pt idx="6">
                  <c:v>5.6661091217016013E-2</c:v>
                </c:pt>
                <c:pt idx="7">
                  <c:v>0.13037260411771356</c:v>
                </c:pt>
                <c:pt idx="8">
                  <c:v>0.13115875458104895</c:v>
                </c:pt>
                <c:pt idx="9">
                  <c:v>6.375612975186308E-2</c:v>
                </c:pt>
                <c:pt idx="10">
                  <c:v>3.764225985622193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8407897627199E-3</c:v>
                </c:pt>
                <c:pt idx="2">
                  <c:v>5.8871389526296255E-3</c:v>
                </c:pt>
                <c:pt idx="3">
                  <c:v>7.5686671135798342E-2</c:v>
                </c:pt>
                <c:pt idx="4">
                  <c:v>2.5428611936749682E-2</c:v>
                </c:pt>
                <c:pt idx="5">
                  <c:v>9.4776620778599371E-2</c:v>
                </c:pt>
                <c:pt idx="6">
                  <c:v>0.12887654807889964</c:v>
                </c:pt>
                <c:pt idx="7">
                  <c:v>0.13424372682216842</c:v>
                </c:pt>
                <c:pt idx="8">
                  <c:v>0.32910093090770842</c:v>
                </c:pt>
                <c:pt idx="9">
                  <c:v>0.10837235929418876</c:v>
                </c:pt>
                <c:pt idx="10">
                  <c:v>9.282381232509891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4.4176724581182049E-3</c:v>
                </c:pt>
                <c:pt idx="2">
                  <c:v>5.2222319407767429E-3</c:v>
                </c:pt>
                <c:pt idx="3">
                  <c:v>6.7782728626977706E-2</c:v>
                </c:pt>
                <c:pt idx="4">
                  <c:v>2.2670696674054521E-2</c:v>
                </c:pt>
                <c:pt idx="5">
                  <c:v>6.7396863418978353E-2</c:v>
                </c:pt>
                <c:pt idx="6">
                  <c:v>1.8634237148378224E-2</c:v>
                </c:pt>
                <c:pt idx="7">
                  <c:v>3.2490439942122321E-2</c:v>
                </c:pt>
                <c:pt idx="8">
                  <c:v>9.94331907442451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2.4687173939425898E-2</c:v>
                </c:pt>
                <c:pt idx="9">
                  <c:v>4.1754783607612346E-2</c:v>
                </c:pt>
                <c:pt idx="10">
                  <c:v>8.5981272801544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8616470086973345E-4</c:v>
                </c:pt>
                <c:pt idx="5">
                  <c:v>1.8966274896647383E-2</c:v>
                </c:pt>
                <c:pt idx="6">
                  <c:v>1.7261910588526542E-2</c:v>
                </c:pt>
                <c:pt idx="7">
                  <c:v>1.6312435879906873E-2</c:v>
                </c:pt>
                <c:pt idx="8">
                  <c:v>8.2470583566920719E-2</c:v>
                </c:pt>
                <c:pt idx="9">
                  <c:v>1.1400874901468067E-2</c:v>
                </c:pt>
                <c:pt idx="10">
                  <c:v>8.380937585092172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1683316445152039E-6</c:v>
                </c:pt>
                <c:pt idx="2">
                  <c:v>6.6490701185288245E-4</c:v>
                </c:pt>
                <c:pt idx="3">
                  <c:v>7.9039425088206407E-3</c:v>
                </c:pt>
                <c:pt idx="4">
                  <c:v>2.5717505618254267E-3</c:v>
                </c:pt>
                <c:pt idx="5">
                  <c:v>8.4134824629736229E-3</c:v>
                </c:pt>
                <c:pt idx="6">
                  <c:v>9.2980400341994882E-2</c:v>
                </c:pt>
                <c:pt idx="7">
                  <c:v>8.5440851000139248E-2</c:v>
                </c:pt>
                <c:pt idx="8">
                  <c:v>0.12250998265711667</c:v>
                </c:pt>
                <c:pt idx="9">
                  <c:v>5.521670078510834E-2</c:v>
                </c:pt>
                <c:pt idx="10">
                  <c:v>6.0044457650451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249600353817023E-3</c:v>
                </c:pt>
                <c:pt idx="1">
                  <c:v>1.2443923938520774E-2</c:v>
                </c:pt>
                <c:pt idx="2">
                  <c:v>1.6670401236197788E-2</c:v>
                </c:pt>
                <c:pt idx="3">
                  <c:v>4.5334745033686293E-2</c:v>
                </c:pt>
                <c:pt idx="4">
                  <c:v>6.0531542297092004E-2</c:v>
                </c:pt>
                <c:pt idx="5">
                  <c:v>6.7423599896182268E-2</c:v>
                </c:pt>
                <c:pt idx="6">
                  <c:v>0.10550384936561592</c:v>
                </c:pt>
                <c:pt idx="7">
                  <c:v>0.20935329812945264</c:v>
                </c:pt>
                <c:pt idx="8">
                  <c:v>0.18200643392867144</c:v>
                </c:pt>
                <c:pt idx="9">
                  <c:v>5.0943431632022196E-2</c:v>
                </c:pt>
                <c:pt idx="10">
                  <c:v>0.2433638145071770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0468467992461994E-4</c:v>
                </c:pt>
                <c:pt idx="1">
                  <c:v>5.6541014204771816E-3</c:v>
                </c:pt>
                <c:pt idx="2">
                  <c:v>1.9503665363068047E-4</c:v>
                </c:pt>
                <c:pt idx="3">
                  <c:v>2.22703998226833E-2</c:v>
                </c:pt>
                <c:pt idx="4">
                  <c:v>4.1385569799076191E-2</c:v>
                </c:pt>
                <c:pt idx="5">
                  <c:v>4.3770468263807649E-3</c:v>
                </c:pt>
                <c:pt idx="6">
                  <c:v>4.1483248752538032E-2</c:v>
                </c:pt>
                <c:pt idx="7">
                  <c:v>0.11842676385372465</c:v>
                </c:pt>
                <c:pt idx="8">
                  <c:v>0.13352035093785317</c:v>
                </c:pt>
                <c:pt idx="9">
                  <c:v>4.5232246335966828E-2</c:v>
                </c:pt>
                <c:pt idx="10">
                  <c:v>0.1992036225352797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0384040264905088E-6</c:v>
                </c:pt>
                <c:pt idx="1">
                  <c:v>3.0806301073427253E-5</c:v>
                </c:pt>
                <c:pt idx="4">
                  <c:v>2.0957525486417405E-4</c:v>
                </c:pt>
                <c:pt idx="5">
                  <c:v>1.1966620913583706E-2</c:v>
                </c:pt>
                <c:pt idx="6">
                  <c:v>1.5805556190975671E-2</c:v>
                </c:pt>
                <c:pt idx="7">
                  <c:v>3.61260023823199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4815779236097655E-5</c:v>
                </c:pt>
                <c:pt idx="1">
                  <c:v>1.6202334243434465E-3</c:v>
                </c:pt>
                <c:pt idx="2">
                  <c:v>6.2292525292862301E-4</c:v>
                </c:pt>
                <c:pt idx="3">
                  <c:v>1.6965830488753532E-3</c:v>
                </c:pt>
                <c:pt idx="4">
                  <c:v>9.7794784171219094E-3</c:v>
                </c:pt>
                <c:pt idx="5">
                  <c:v>3.5507416883434686E-2</c:v>
                </c:pt>
                <c:pt idx="6">
                  <c:v>1.2550179410043083E-2</c:v>
                </c:pt>
                <c:pt idx="7">
                  <c:v>1.3704996181290452E-2</c:v>
                </c:pt>
                <c:pt idx="8">
                  <c:v>1.4700869106375667E-2</c:v>
                </c:pt>
                <c:pt idx="9">
                  <c:v>1.3863194530840321E-3</c:v>
                </c:pt>
                <c:pt idx="10">
                  <c:v>2.93522793785687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7744211721944957E-3</c:v>
                </c:pt>
                <c:pt idx="1">
                  <c:v>5.1387827926267192E-3</c:v>
                </c:pt>
                <c:pt idx="2">
                  <c:v>1.5852439329638486E-2</c:v>
                </c:pt>
                <c:pt idx="3">
                  <c:v>2.1367762162127636E-2</c:v>
                </c:pt>
                <c:pt idx="4">
                  <c:v>9.156918826029729E-3</c:v>
                </c:pt>
                <c:pt idx="5">
                  <c:v>1.5572515272783116E-2</c:v>
                </c:pt>
                <c:pt idx="6">
                  <c:v>3.5664865012059135E-2</c:v>
                </c:pt>
                <c:pt idx="7">
                  <c:v>4.1095535712117597E-2</c:v>
                </c:pt>
                <c:pt idx="8">
                  <c:v>3.3785213884442604E-2</c:v>
                </c:pt>
                <c:pt idx="9">
                  <c:v>4.324865842971334E-3</c:v>
                </c:pt>
                <c:pt idx="10">
                  <c:v>1.48079125933284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193811307894463E-4</c:v>
                </c:pt>
                <c:pt idx="1">
                  <c:v>6.0173469111435029E-5</c:v>
                </c:pt>
                <c:pt idx="2">
                  <c:v>8.963845470016352E-3</c:v>
                </c:pt>
                <c:pt idx="3">
                  <c:v>2.3701830432512266E-2</c:v>
                </c:pt>
                <c:pt idx="4">
                  <c:v>1.3538136962298842E-2</c:v>
                </c:pt>
                <c:pt idx="5">
                  <c:v>5.2050714440147451E-2</c:v>
                </c:pt>
                <c:pt idx="6">
                  <c:v>6.6835411572889747E-2</c:v>
                </c:pt>
                <c:pt idx="7">
                  <c:v>7.8245022457428454E-2</c:v>
                </c:pt>
                <c:pt idx="8">
                  <c:v>0.12333337649728078</c:v>
                </c:pt>
                <c:pt idx="9">
                  <c:v>0.18253935133240679</c:v>
                </c:pt>
                <c:pt idx="10">
                  <c:v>3.19808898050236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323074475378015E-6</c:v>
                </c:pt>
                <c:pt idx="3">
                  <c:v>8.0997722208184354E-7</c:v>
                </c:pt>
                <c:pt idx="4">
                  <c:v>3.4743737786523303E-3</c:v>
                </c:pt>
                <c:pt idx="5">
                  <c:v>1.0002058596302368E-2</c:v>
                </c:pt>
                <c:pt idx="6">
                  <c:v>2.3991525318064207E-2</c:v>
                </c:pt>
                <c:pt idx="7">
                  <c:v>3.01333996950284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7244676341097316E-7</c:v>
                </c:pt>
                <c:pt idx="1">
                  <c:v>6.8490106201391507E-4</c:v>
                </c:pt>
                <c:pt idx="2">
                  <c:v>5.0108326353681221E-4</c:v>
                </c:pt>
                <c:pt idx="3">
                  <c:v>3.149750585020419E-3</c:v>
                </c:pt>
                <c:pt idx="4">
                  <c:v>8.9383965082644908E-3</c:v>
                </c:pt>
                <c:pt idx="5">
                  <c:v>2.4433093545586246E-2</c:v>
                </c:pt>
                <c:pt idx="6">
                  <c:v>1.1380854080325055E-2</c:v>
                </c:pt>
                <c:pt idx="7">
                  <c:v>1.5430902186178689E-2</c:v>
                </c:pt>
                <c:pt idx="8">
                  <c:v>6.3719131336949552E-3</c:v>
                </c:pt>
                <c:pt idx="9">
                  <c:v>1.3821451317604578E-2</c:v>
                </c:pt>
                <c:pt idx="10">
                  <c:v>1.77441814554659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979834848884326E-2</c:v>
                </c:pt>
                <c:pt idx="1">
                  <c:v>1.38070755283275E-2</c:v>
                </c:pt>
                <c:pt idx="2">
                  <c:v>2.2328229254029896E-2</c:v>
                </c:pt>
                <c:pt idx="3">
                  <c:v>2.1344859424168066E-2</c:v>
                </c:pt>
                <c:pt idx="4">
                  <c:v>1.0221494489913082E-2</c:v>
                </c:pt>
                <c:pt idx="5">
                  <c:v>2.1081512313801523E-2</c:v>
                </c:pt>
                <c:pt idx="6">
                  <c:v>4.1571945056203694E-2</c:v>
                </c:pt>
                <c:pt idx="7">
                  <c:v>4.1601616350829373E-2</c:v>
                </c:pt>
                <c:pt idx="8">
                  <c:v>4.2777854821417632E-2</c:v>
                </c:pt>
                <c:pt idx="9">
                  <c:v>8.0240837686595106E-3</c:v>
                </c:pt>
                <c:pt idx="10">
                  <c:v>1.3269104334399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E-3</c:v>
                </c:pt>
                <c:pt idx="1">
                  <c:v>7.6799999999999993E-2</c:v>
                </c:pt>
                <c:pt idx="2">
                  <c:v>0.13689999999999999</c:v>
                </c:pt>
                <c:pt idx="4">
                  <c:v>8.0000000000000004E-4</c:v>
                </c:pt>
                <c:pt idx="5">
                  <c:v>0.16589999999999999</c:v>
                </c:pt>
                <c:pt idx="6">
                  <c:v>0.12740000000000001</c:v>
                </c:pt>
                <c:pt idx="7">
                  <c:v>0.2137</c:v>
                </c:pt>
                <c:pt idx="8">
                  <c:v>0.275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592531584901567E-3</c:v>
                </c:pt>
                <c:pt idx="1">
                  <c:v>3.9365746906015022E-3</c:v>
                </c:pt>
                <c:pt idx="2">
                  <c:v>2.0756412271314948E-2</c:v>
                </c:pt>
                <c:pt idx="3">
                  <c:v>9.2991716400437199E-2</c:v>
                </c:pt>
                <c:pt idx="4">
                  <c:v>2.4277269541755013E-2</c:v>
                </c:pt>
                <c:pt idx="5">
                  <c:v>8.0415999435181115E-2</c:v>
                </c:pt>
                <c:pt idx="6">
                  <c:v>0.11774145970678358</c:v>
                </c:pt>
                <c:pt idx="7">
                  <c:v>0.21111395390431634</c:v>
                </c:pt>
                <c:pt idx="8">
                  <c:v>0.14924836341310024</c:v>
                </c:pt>
                <c:pt idx="9">
                  <c:v>0.13462867849848958</c:v>
                </c:pt>
                <c:pt idx="10">
                  <c:v>0.160730318979530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3482158597522872E-3</c:v>
                </c:pt>
                <c:pt idx="3">
                  <c:v>8.7783781516719173E-2</c:v>
                </c:pt>
                <c:pt idx="4">
                  <c:v>1.2798239305948547E-3</c:v>
                </c:pt>
                <c:pt idx="5">
                  <c:v>1.0282865830713451E-3</c:v>
                </c:pt>
                <c:pt idx="6">
                  <c:v>3.2196977696309692E-2</c:v>
                </c:pt>
                <c:pt idx="7">
                  <c:v>0.11178613571762461</c:v>
                </c:pt>
                <c:pt idx="8">
                  <c:v>9.9419366244212215E-2</c:v>
                </c:pt>
                <c:pt idx="9">
                  <c:v>0.12886691936373795</c:v>
                </c:pt>
                <c:pt idx="10">
                  <c:v>0.113285868912680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1489318196314106E-4</c:v>
                </c:pt>
                <c:pt idx="1">
                  <c:v>1.1925816968012151E-3</c:v>
                </c:pt>
                <c:pt idx="2">
                  <c:v>3.7463953311854721E-4</c:v>
                </c:pt>
                <c:pt idx="3">
                  <c:v>3.9000902300152956E-3</c:v>
                </c:pt>
                <c:pt idx="4">
                  <c:v>1.9093649414540271E-2</c:v>
                </c:pt>
                <c:pt idx="5">
                  <c:v>5.1786010487178812E-2</c:v>
                </c:pt>
                <c:pt idx="6">
                  <c:v>2.497443499334397E-2</c:v>
                </c:pt>
                <c:pt idx="7">
                  <c:v>2.6951144990018789E-2</c:v>
                </c:pt>
                <c:pt idx="8">
                  <c:v>2.296589970030645E-2</c:v>
                </c:pt>
                <c:pt idx="9">
                  <c:v>3.0130658906235641E-3</c:v>
                </c:pt>
                <c:pt idx="10">
                  <c:v>3.76231455314350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0460029112298727E-3</c:v>
                </c:pt>
                <c:pt idx="5">
                  <c:v>2.0360983169438945E-2</c:v>
                </c:pt>
                <c:pt idx="6">
                  <c:v>2.3345551738145176E-2</c:v>
                </c:pt>
                <c:pt idx="7">
                  <c:v>4.10436705352630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443599765270155E-3</c:v>
                </c:pt>
                <c:pt idx="1">
                  <c:v>2.7439929938002875E-3</c:v>
                </c:pt>
                <c:pt idx="2">
                  <c:v>1.9033556878444116E-2</c:v>
                </c:pt>
                <c:pt idx="3">
                  <c:v>1.3078446537027298E-3</c:v>
                </c:pt>
                <c:pt idx="4">
                  <c:v>2.8577932853900132E-3</c:v>
                </c:pt>
                <c:pt idx="5">
                  <c:v>7.2407191954920059E-3</c:v>
                </c:pt>
                <c:pt idx="6">
                  <c:v>3.7224495278984755E-2</c:v>
                </c:pt>
                <c:pt idx="7">
                  <c:v>3.1333002661409926E-2</c:v>
                </c:pt>
                <c:pt idx="8">
                  <c:v>2.6863097468581579E-2</c:v>
                </c:pt>
                <c:pt idx="9">
                  <c:v>2.7486932441280602E-3</c:v>
                </c:pt>
                <c:pt idx="10">
                  <c:v>9.82130453541452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44219405181581E-2</c:v>
                </c:pt>
                <c:pt idx="1">
                  <c:v>1.8525575310990968E-2</c:v>
                </c:pt>
                <c:pt idx="2">
                  <c:v>1.0830848402378098E-2</c:v>
                </c:pt>
                <c:pt idx="3">
                  <c:v>1.3091761934090175E-2</c:v>
                </c:pt>
                <c:pt idx="4">
                  <c:v>2.2727357841393021E-2</c:v>
                </c:pt>
                <c:pt idx="5">
                  <c:v>0.15249326265147259</c:v>
                </c:pt>
                <c:pt idx="6">
                  <c:v>0.13267291400029826</c:v>
                </c:pt>
                <c:pt idx="7">
                  <c:v>0.14714524172169652</c:v>
                </c:pt>
                <c:pt idx="8">
                  <c:v>0.27503709972378243</c:v>
                </c:pt>
                <c:pt idx="9">
                  <c:v>0.18376269779339161</c:v>
                </c:pt>
                <c:pt idx="10">
                  <c:v>2.13690212153247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249972708031823E-4</c:v>
                </c:pt>
                <c:pt idx="1">
                  <c:v>2.6169298476754588E-4</c:v>
                </c:pt>
                <c:pt idx="2">
                  <c:v>1.6113548162056504E-4</c:v>
                </c:pt>
                <c:pt idx="3">
                  <c:v>2.9618801109981473E-7</c:v>
                </c:pt>
                <c:pt idx="4">
                  <c:v>4.3295073350191199E-3</c:v>
                </c:pt>
                <c:pt idx="5">
                  <c:v>2.6654839316012657E-2</c:v>
                </c:pt>
                <c:pt idx="6">
                  <c:v>4.6901962260299267E-2</c:v>
                </c:pt>
                <c:pt idx="7">
                  <c:v>2.9235856785686911E-3</c:v>
                </c:pt>
                <c:pt idx="8">
                  <c:v>0.15835047344348338</c:v>
                </c:pt>
                <c:pt idx="9">
                  <c:v>0.1212841000964338</c:v>
                </c:pt>
                <c:pt idx="10">
                  <c:v>1.4604261909868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3024742284719818E-4</c:v>
                </c:pt>
                <c:pt idx="1">
                  <c:v>6.4333291044825101E-4</c:v>
                </c:pt>
                <c:pt idx="2">
                  <c:v>1.6506039111228602E-3</c:v>
                </c:pt>
                <c:pt idx="3">
                  <c:v>1.3446868768787837E-3</c:v>
                </c:pt>
                <c:pt idx="4">
                  <c:v>2.5141484243773387E-3</c:v>
                </c:pt>
                <c:pt idx="5">
                  <c:v>9.0987819112419308E-2</c:v>
                </c:pt>
                <c:pt idx="6">
                  <c:v>4.0313012293352012E-2</c:v>
                </c:pt>
                <c:pt idx="7">
                  <c:v>1.3856608067815367E-2</c:v>
                </c:pt>
                <c:pt idx="8">
                  <c:v>5.5726502520698868E-3</c:v>
                </c:pt>
                <c:pt idx="10">
                  <c:v>3.815135855968743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9255065465097391E-4</c:v>
                </c:pt>
                <c:pt idx="3">
                  <c:v>4.698973431430044E-3</c:v>
                </c:pt>
                <c:pt idx="5">
                  <c:v>3.731141454143039E-3</c:v>
                </c:pt>
                <c:pt idx="6">
                  <c:v>9.8635694767163409E-3</c:v>
                </c:pt>
                <c:pt idx="7">
                  <c:v>6.7740596090052521E-2</c:v>
                </c:pt>
                <c:pt idx="8">
                  <c:v>3.600134986765700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011472255254065E-2</c:v>
                </c:pt>
                <c:pt idx="1">
                  <c:v>1.762054941577517E-2</c:v>
                </c:pt>
                <c:pt idx="2">
                  <c:v>8.8265583549837004E-3</c:v>
                </c:pt>
                <c:pt idx="3">
                  <c:v>7.0478054377702479E-3</c:v>
                </c:pt>
                <c:pt idx="4">
                  <c:v>1.5883702081996562E-2</c:v>
                </c:pt>
                <c:pt idx="5">
                  <c:v>3.1119462768897592E-2</c:v>
                </c:pt>
                <c:pt idx="6">
                  <c:v>3.5594369969930623E-2</c:v>
                </c:pt>
                <c:pt idx="7">
                  <c:v>6.262445188525996E-2</c:v>
                </c:pt>
                <c:pt idx="8">
                  <c:v>7.5112626160572141E-2</c:v>
                </c:pt>
                <c:pt idx="9">
                  <c:v>6.2478597696957822E-2</c:v>
                </c:pt>
                <c:pt idx="10">
                  <c:v>6.726607946897030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1</c:v>
                </c:pt>
                <c:pt idx="10">
                  <c:v>6.439327363122094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072206953701329E-4</c:v>
                </c:pt>
                <c:pt idx="1">
                  <c:v>9.8258963677779861E-7</c:v>
                </c:pt>
                <c:pt idx="2">
                  <c:v>5.3737979969518241E-4</c:v>
                </c:pt>
                <c:pt idx="3">
                  <c:v>3.7915792159768625E-3</c:v>
                </c:pt>
                <c:pt idx="4">
                  <c:v>1.74384459394888E-2</c:v>
                </c:pt>
                <c:pt idx="5">
                  <c:v>2.398886702522296E-2</c:v>
                </c:pt>
                <c:pt idx="6">
                  <c:v>2.8077040668504298E-2</c:v>
                </c:pt>
                <c:pt idx="7">
                  <c:v>2.4364165355091935E-2</c:v>
                </c:pt>
                <c:pt idx="8">
                  <c:v>0.11227914318733516</c:v>
                </c:pt>
                <c:pt idx="9">
                  <c:v>0.10566720078983508</c:v>
                </c:pt>
                <c:pt idx="10">
                  <c:v>6.3641668926156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800755447496039E-7</c:v>
                </c:pt>
                <c:pt idx="1">
                  <c:v>9.0931288733664395E-4</c:v>
                </c:pt>
                <c:pt idx="2">
                  <c:v>4.389767568115952E-3</c:v>
                </c:pt>
                <c:pt idx="3">
                  <c:v>2.3038977767911605E-3</c:v>
                </c:pt>
                <c:pt idx="4">
                  <c:v>2.0754355039642937E-2</c:v>
                </c:pt>
                <c:pt idx="5">
                  <c:v>8.4672717134605294E-2</c:v>
                </c:pt>
                <c:pt idx="6">
                  <c:v>3.3036414939946537E-2</c:v>
                </c:pt>
                <c:pt idx="7">
                  <c:v>1.4734461081836587E-2</c:v>
                </c:pt>
                <c:pt idx="8">
                  <c:v>4.7791785325608238E-3</c:v>
                </c:pt>
                <c:pt idx="9">
                  <c:v>2.5608424212395474E-6</c:v>
                </c:pt>
                <c:pt idx="10">
                  <c:v>3.088793433332074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5823283524473069E-4</c:v>
                </c:pt>
                <c:pt idx="3">
                  <c:v>7.7176408426039098E-3</c:v>
                </c:pt>
                <c:pt idx="4">
                  <c:v>1.4611566101307161E-6</c:v>
                </c:pt>
                <c:pt idx="5">
                  <c:v>2.6771749248684216E-4</c:v>
                </c:pt>
                <c:pt idx="6">
                  <c:v>2.7288245200244362E-2</c:v>
                </c:pt>
                <c:pt idx="7">
                  <c:v>4.7237192388286393E-2</c:v>
                </c:pt>
                <c:pt idx="8">
                  <c:v>4.7206900117100756E-2</c:v>
                </c:pt>
                <c:pt idx="9">
                  <c:v>4.533505667676302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661766274926166E-2</c:v>
                </c:pt>
                <c:pt idx="1">
                  <c:v>2.2301857350497754E-2</c:v>
                </c:pt>
                <c:pt idx="2">
                  <c:v>4.2422518441489225E-3</c:v>
                </c:pt>
                <c:pt idx="3">
                  <c:v>7.0214480836877603E-3</c:v>
                </c:pt>
                <c:pt idx="4">
                  <c:v>1.8086690360585401E-2</c:v>
                </c:pt>
                <c:pt idx="5">
                  <c:v>3.9656238419092903E-2</c:v>
                </c:pt>
                <c:pt idx="6">
                  <c:v>4.5912356089629056E-2</c:v>
                </c:pt>
                <c:pt idx="7">
                  <c:v>8.8255824431168806E-2</c:v>
                </c:pt>
                <c:pt idx="8">
                  <c:v>8.4333560793500503E-2</c:v>
                </c:pt>
                <c:pt idx="9">
                  <c:v>5.1719577939160176E-2</c:v>
                </c:pt>
                <c:pt idx="10">
                  <c:v>4.427253617315925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82354452281674E-2</c:v>
                </c:pt>
                <c:pt idx="1">
                  <c:v>1.0631957095508139E-2</c:v>
                </c:pt>
                <c:pt idx="2">
                  <c:v>1.7221234411258928E-2</c:v>
                </c:pt>
                <c:pt idx="3">
                  <c:v>6.6807752221266531E-2</c:v>
                </c:pt>
                <c:pt idx="4">
                  <c:v>4.9250627776390617E-2</c:v>
                </c:pt>
                <c:pt idx="5">
                  <c:v>0.11852846252856482</c:v>
                </c:pt>
                <c:pt idx="6">
                  <c:v>0.13127207598354879</c:v>
                </c:pt>
                <c:pt idx="7">
                  <c:v>0.18044499841671938</c:v>
                </c:pt>
                <c:pt idx="8">
                  <c:v>0.23112965900723814</c:v>
                </c:pt>
                <c:pt idx="9">
                  <c:v>0.10923037007143091</c:v>
                </c:pt>
                <c:pt idx="10">
                  <c:v>6.89005080357921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918174965397519E-2</c:v>
                </c:pt>
                <c:pt idx="1">
                  <c:v>7.2063106135973071E-3</c:v>
                </c:pt>
                <c:pt idx="2">
                  <c:v>7.4454837871766096E-3</c:v>
                </c:pt>
                <c:pt idx="3">
                  <c:v>1.292014843570851E-2</c:v>
                </c:pt>
                <c:pt idx="4">
                  <c:v>6.6563239755059123E-2</c:v>
                </c:pt>
                <c:pt idx="5">
                  <c:v>0.16102300693596588</c:v>
                </c:pt>
                <c:pt idx="6">
                  <c:v>0.13290516588104634</c:v>
                </c:pt>
                <c:pt idx="7">
                  <c:v>0.17400543608853142</c:v>
                </c:pt>
                <c:pt idx="8">
                  <c:v>0.20826118401731084</c:v>
                </c:pt>
                <c:pt idx="9">
                  <c:v>0.12870129858787954</c:v>
                </c:pt>
                <c:pt idx="10">
                  <c:v>6.90505509323268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5519718359413E-6</c:v>
                </c:pt>
                <c:pt idx="1">
                  <c:v>4.8868903831935883E-5</c:v>
                </c:pt>
                <c:pt idx="2">
                  <c:v>2.8924539775195559E-3</c:v>
                </c:pt>
                <c:pt idx="3">
                  <c:v>3.3221871810015869E-3</c:v>
                </c:pt>
                <c:pt idx="4">
                  <c:v>1.567027500579515E-2</c:v>
                </c:pt>
                <c:pt idx="5">
                  <c:v>9.4302455971201155E-2</c:v>
                </c:pt>
                <c:pt idx="6">
                  <c:v>3.8677722491997205E-2</c:v>
                </c:pt>
                <c:pt idx="7">
                  <c:v>2.6087623179705071E-2</c:v>
                </c:pt>
                <c:pt idx="8">
                  <c:v>2.4544927826979377E-3</c:v>
                </c:pt>
                <c:pt idx="9">
                  <c:v>1.0030788532263582E-5</c:v>
                </c:pt>
                <c:pt idx="10">
                  <c:v>5.6766278385322515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5839663085275927E-4</c:v>
                </c:pt>
                <c:pt idx="1">
                  <c:v>9.5442204318179608E-7</c:v>
                </c:pt>
                <c:pt idx="2">
                  <c:v>2.3542410398484303E-5</c:v>
                </c:pt>
                <c:pt idx="3">
                  <c:v>2.4240448481046675E-4</c:v>
                </c:pt>
                <c:pt idx="4">
                  <c:v>2.5602951447240674E-2</c:v>
                </c:pt>
                <c:pt idx="5">
                  <c:v>5.2318110239364061E-3</c:v>
                </c:pt>
                <c:pt idx="6">
                  <c:v>4.7957854968272019E-2</c:v>
                </c:pt>
                <c:pt idx="7">
                  <c:v>1.0447571538610676E-2</c:v>
                </c:pt>
                <c:pt idx="8">
                  <c:v>8.1065083848159816E-2</c:v>
                </c:pt>
                <c:pt idx="9">
                  <c:v>5.3692003889550539E-2</c:v>
                </c:pt>
                <c:pt idx="10">
                  <c:v>6.904998326954300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9154045214902155E-3</c:v>
                </c:pt>
                <c:pt idx="1">
                  <c:v>6.8317342709375865E-3</c:v>
                </c:pt>
                <c:pt idx="3">
                  <c:v>6.5530742245913513E-5</c:v>
                </c:pt>
                <c:pt idx="4">
                  <c:v>1.2039441459744225E-4</c:v>
                </c:pt>
                <c:pt idx="5">
                  <c:v>1.5812515080492088E-2</c:v>
                </c:pt>
                <c:pt idx="6">
                  <c:v>1.5999064042592426E-2</c:v>
                </c:pt>
                <c:pt idx="7">
                  <c:v>5.3520108112936698E-2</c:v>
                </c:pt>
                <c:pt idx="8">
                  <c:v>1.3410534224326857E-2</c:v>
                </c:pt>
                <c:pt idx="9">
                  <c:v>7.009729615354193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684152926108271E-2</c:v>
                </c:pt>
                <c:pt idx="1">
                  <c:v>3.2475301678460327E-4</c:v>
                </c:pt>
                <c:pt idx="2">
                  <c:v>4.5294873992585694E-3</c:v>
                </c:pt>
                <c:pt idx="3">
                  <c:v>9.2900260276505414E-3</c:v>
                </c:pt>
                <c:pt idx="4">
                  <c:v>2.5169618887425856E-2</c:v>
                </c:pt>
                <c:pt idx="5">
                  <c:v>4.5676224860336241E-2</c:v>
                </c:pt>
                <c:pt idx="6">
                  <c:v>3.0270524378184682E-2</c:v>
                </c:pt>
                <c:pt idx="7">
                  <c:v>8.3950133257279E-2</c:v>
                </c:pt>
                <c:pt idx="8">
                  <c:v>0.11133107316212625</c:v>
                </c:pt>
                <c:pt idx="9">
                  <c:v>4.901967756254833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63418572699626E-2</c:v>
                </c:pt>
                <c:pt idx="1">
                  <c:v>2.1724384786094904E-2</c:v>
                </c:pt>
                <c:pt idx="2">
                  <c:v>4.1414606767385245E-2</c:v>
                </c:pt>
                <c:pt idx="3">
                  <c:v>2.1675870432187948E-2</c:v>
                </c:pt>
                <c:pt idx="4">
                  <c:v>5.2576267878937134E-2</c:v>
                </c:pt>
                <c:pt idx="5">
                  <c:v>6.372480657963811E-2</c:v>
                </c:pt>
                <c:pt idx="6">
                  <c:v>0.13090576767225237</c:v>
                </c:pt>
                <c:pt idx="7">
                  <c:v>0.17797195797908866</c:v>
                </c:pt>
                <c:pt idx="8">
                  <c:v>0.38160066799202275</c:v>
                </c:pt>
                <c:pt idx="9">
                  <c:v>7.1611015796664484E-2</c:v>
                </c:pt>
                <c:pt idx="10">
                  <c:v>2.831235543028778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627993719166205E-3</c:v>
                </c:pt>
                <c:pt idx="1">
                  <c:v>8.7688137204002014E-4</c:v>
                </c:pt>
                <c:pt idx="2">
                  <c:v>1.9981259896930361E-2</c:v>
                </c:pt>
                <c:pt idx="3">
                  <c:v>1.6324014573663459E-3</c:v>
                </c:pt>
                <c:pt idx="4">
                  <c:v>6.8090429702527518E-3</c:v>
                </c:pt>
                <c:pt idx="5">
                  <c:v>4.234729917675846E-2</c:v>
                </c:pt>
                <c:pt idx="6">
                  <c:v>1.0991930094336426E-2</c:v>
                </c:pt>
                <c:pt idx="7">
                  <c:v>0.10026226218434729</c:v>
                </c:pt>
                <c:pt idx="8">
                  <c:v>0.19569457358830389</c:v>
                </c:pt>
                <c:pt idx="9">
                  <c:v>6.9300325624541192E-2</c:v>
                </c:pt>
                <c:pt idx="10">
                  <c:v>2.57448820758986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76734586082283E-4</c:v>
                </c:pt>
                <c:pt idx="2">
                  <c:v>8.0075754481299911E-4</c:v>
                </c:pt>
                <c:pt idx="3">
                  <c:v>2.5958047086377017E-7</c:v>
                </c:pt>
                <c:pt idx="4">
                  <c:v>3.2744667248337057E-2</c:v>
                </c:pt>
                <c:pt idx="5">
                  <c:v>3.1322710150894933E-6</c:v>
                </c:pt>
                <c:pt idx="6">
                  <c:v>7.7718913373651985E-2</c:v>
                </c:pt>
                <c:pt idx="7">
                  <c:v>2.2565809938009898E-2</c:v>
                </c:pt>
                <c:pt idx="8">
                  <c:v>0.113940892179438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1398713891251741E-3</c:v>
                </c:pt>
                <c:pt idx="4">
                  <c:v>1.0270363134599081E-4</c:v>
                </c:pt>
                <c:pt idx="6">
                  <c:v>2.2558341437033901E-2</c:v>
                </c:pt>
                <c:pt idx="7">
                  <c:v>2.6974316990783479E-3</c:v>
                </c:pt>
                <c:pt idx="8">
                  <c:v>4.8722609138244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2442945742174774E-2</c:v>
                </c:pt>
                <c:pt idx="1">
                  <c:v>2.0847503414054887E-2</c:v>
                </c:pt>
                <c:pt idx="2">
                  <c:v>2.0632589325641888E-2</c:v>
                </c:pt>
                <c:pt idx="3">
                  <c:v>1.7903338005225564E-2</c:v>
                </c:pt>
                <c:pt idx="4">
                  <c:v>1.2919854029001331E-2</c:v>
                </c:pt>
                <c:pt idx="5">
                  <c:v>2.1374375131864562E-2</c:v>
                </c:pt>
                <c:pt idx="6">
                  <c:v>1.9636582767230043E-2</c:v>
                </c:pt>
                <c:pt idx="7">
                  <c:v>5.2446454157653116E-2</c:v>
                </c:pt>
                <c:pt idx="8">
                  <c:v>2.3242593086035841E-2</c:v>
                </c:pt>
                <c:pt idx="9">
                  <c:v>2.3106901721232985E-3</c:v>
                </c:pt>
                <c:pt idx="10">
                  <c:v>2.567473354389141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2895615689523123E-3</c:v>
                </c:pt>
                <c:pt idx="1">
                  <c:v>1.2191397881004248E-2</c:v>
                </c:pt>
                <c:pt idx="2">
                  <c:v>1.0974375492565613E-2</c:v>
                </c:pt>
                <c:pt idx="3">
                  <c:v>2.2957743157416563E-3</c:v>
                </c:pt>
                <c:pt idx="4">
                  <c:v>1.2578924651319585E-2</c:v>
                </c:pt>
                <c:pt idx="5">
                  <c:v>5.5726885091712086E-2</c:v>
                </c:pt>
                <c:pt idx="6">
                  <c:v>3.0004173992332232E-2</c:v>
                </c:pt>
                <c:pt idx="7">
                  <c:v>0.1044620805993903</c:v>
                </c:pt>
                <c:pt idx="8">
                  <c:v>8.336121691648106E-2</c:v>
                </c:pt>
                <c:pt idx="9">
                  <c:v>9.0957371374645851E-2</c:v>
                </c:pt>
                <c:pt idx="10">
                  <c:v>4.172937746034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037277176314197E-5</c:v>
                </c:pt>
                <c:pt idx="2">
                  <c:v>2.1039368592767134E-5</c:v>
                </c:pt>
                <c:pt idx="3">
                  <c:v>1.2804621056102856E-5</c:v>
                </c:pt>
                <c:pt idx="4">
                  <c:v>3.2882094847373367E-2</c:v>
                </c:pt>
                <c:pt idx="5">
                  <c:v>1.6265488739259478E-2</c:v>
                </c:pt>
                <c:pt idx="6">
                  <c:v>7.8624434563229401E-2</c:v>
                </c:pt>
                <c:pt idx="7">
                  <c:v>5.0416138591354513E-2</c:v>
                </c:pt>
                <c:pt idx="8">
                  <c:v>7.90571514739775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2155196105875398E-3</c:v>
                </c:pt>
                <c:pt idx="4">
                  <c:v>1.9176191518417963E-3</c:v>
                </c:pt>
                <c:pt idx="5">
                  <c:v>2.2228582814683231E-5</c:v>
                </c:pt>
                <c:pt idx="6">
                  <c:v>2.1670370146516651E-2</c:v>
                </c:pt>
                <c:pt idx="7">
                  <c:v>3.1357634404897868E-3</c:v>
                </c:pt>
                <c:pt idx="8">
                  <c:v>3.452698005832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9221771107810119E-2</c:v>
                </c:pt>
                <c:pt idx="1">
                  <c:v>2.7556651454273242E-2</c:v>
                </c:pt>
                <c:pt idx="2">
                  <c:v>2.515716868317883E-2</c:v>
                </c:pt>
                <c:pt idx="3">
                  <c:v>1.7945751203475444E-2</c:v>
                </c:pt>
                <c:pt idx="4">
                  <c:v>1.743524173221063E-2</c:v>
                </c:pt>
                <c:pt idx="5">
                  <c:v>1.3183097831396064E-2</c:v>
                </c:pt>
                <c:pt idx="6">
                  <c:v>4.417723656846298E-2</c:v>
                </c:pt>
                <c:pt idx="7">
                  <c:v>4.457848043867136E-2</c:v>
                </c:pt>
                <c:pt idx="8">
                  <c:v>1.228981096736885E-2</c:v>
                </c:pt>
                <c:pt idx="9">
                  <c:v>9.7653933889606855E-3</c:v>
                </c:pt>
                <c:pt idx="10">
                  <c:v>8.40026521421775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41257537623539E-2</c:v>
                </c:pt>
                <c:pt idx="1">
                  <c:v>9.117305413480924E-3</c:v>
                </c:pt>
                <c:pt idx="2">
                  <c:v>1.6301635329842315E-2</c:v>
                </c:pt>
                <c:pt idx="3">
                  <c:v>1.2411255521436126E-2</c:v>
                </c:pt>
                <c:pt idx="4">
                  <c:v>5.219875481715807E-2</c:v>
                </c:pt>
                <c:pt idx="5">
                  <c:v>9.1798095526811688E-2</c:v>
                </c:pt>
                <c:pt idx="6">
                  <c:v>0.20263346870495211</c:v>
                </c:pt>
                <c:pt idx="7">
                  <c:v>0.15958441887694685</c:v>
                </c:pt>
                <c:pt idx="8">
                  <c:v>0.3649632933266263</c:v>
                </c:pt>
                <c:pt idx="9">
                  <c:v>7.945051494512211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9353090843780668E-5</c:v>
                </c:pt>
                <c:pt idx="1">
                  <c:v>2.3055819896241159E-3</c:v>
                </c:pt>
                <c:pt idx="2">
                  <c:v>4.1111469122079884E-3</c:v>
                </c:pt>
                <c:pt idx="4">
                  <c:v>2.5484057329246739E-5</c:v>
                </c:pt>
                <c:pt idx="5">
                  <c:v>4.9810083208772097E-3</c:v>
                </c:pt>
                <c:pt idx="6">
                  <c:v>3.8259509711276803E-3</c:v>
                </c:pt>
                <c:pt idx="7">
                  <c:v>6.4162611443247938E-3</c:v>
                </c:pt>
                <c:pt idx="8">
                  <c:v>8.25496703537436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318278453820506E-5</c:v>
                </c:pt>
                <c:pt idx="1">
                  <c:v>2.1409505460530452E-4</c:v>
                </c:pt>
                <c:pt idx="2">
                  <c:v>2.8604767863093269E-3</c:v>
                </c:pt>
                <c:pt idx="3">
                  <c:v>2.0025337691118191E-2</c:v>
                </c:pt>
                <c:pt idx="4">
                  <c:v>8.8750651341420409E-3</c:v>
                </c:pt>
                <c:pt idx="5">
                  <c:v>1.5459361181512737E-2</c:v>
                </c:pt>
                <c:pt idx="6">
                  <c:v>2.5186635114514536E-2</c:v>
                </c:pt>
                <c:pt idx="7">
                  <c:v>5.4101569839050387E-2</c:v>
                </c:pt>
                <c:pt idx="8">
                  <c:v>7.1492076616312988E-2</c:v>
                </c:pt>
                <c:pt idx="9">
                  <c:v>7.5591646530215037E-2</c:v>
                </c:pt>
                <c:pt idx="10">
                  <c:v>5.76395933746987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9588590796085977E-7</c:v>
                </c:pt>
                <c:pt idx="1">
                  <c:v>1.3673180269660911E-5</c:v>
                </c:pt>
                <c:pt idx="2">
                  <c:v>8.0928855683636729E-4</c:v>
                </c:pt>
                <c:pt idx="3">
                  <c:v>9.2952492594495432E-4</c:v>
                </c:pt>
                <c:pt idx="4">
                  <c:v>4.3844342358540485E-3</c:v>
                </c:pt>
                <c:pt idx="5">
                  <c:v>2.6385172968077925E-2</c:v>
                </c:pt>
                <c:pt idx="6">
                  <c:v>1.0821758430918472E-2</c:v>
                </c:pt>
                <c:pt idx="7">
                  <c:v>7.2991359857347083E-3</c:v>
                </c:pt>
                <c:pt idx="8">
                  <c:v>6.8675005283172692E-4</c:v>
                </c:pt>
                <c:pt idx="9">
                  <c:v>2.8065450438619794E-6</c:v>
                </c:pt>
                <c:pt idx="10">
                  <c:v>1.5882810882552246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6123271647573525E-4</c:v>
                </c:pt>
                <c:pt idx="4">
                  <c:v>7.291419732227921E-3</c:v>
                </c:pt>
                <c:pt idx="5">
                  <c:v>2.5193105178244384E-4</c:v>
                </c:pt>
                <c:pt idx="6">
                  <c:v>2.1444850823517547E-2</c:v>
                </c:pt>
                <c:pt idx="7">
                  <c:v>4.4847926562657792E-3</c:v>
                </c:pt>
                <c:pt idx="8">
                  <c:v>2.396738677370582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437887197076114E-2</c:v>
                </c:pt>
                <c:pt idx="1">
                  <c:v>8.0986068710090578E-3</c:v>
                </c:pt>
                <c:pt idx="2">
                  <c:v>9.4403221559052428E-3</c:v>
                </c:pt>
                <c:pt idx="3">
                  <c:v>4.549165688772764E-2</c:v>
                </c:pt>
                <c:pt idx="4">
                  <c:v>2.8674224616837354E-2</c:v>
                </c:pt>
                <c:pt idx="5">
                  <c:v>7.1450989006314511E-2</c:v>
                </c:pt>
                <c:pt idx="6">
                  <c:v>6.9992880643470548E-2</c:v>
                </c:pt>
                <c:pt idx="7">
                  <c:v>0.10814323879134372</c:v>
                </c:pt>
                <c:pt idx="8">
                  <c:v>0.12672847852901323</c:v>
                </c:pt>
                <c:pt idx="9">
                  <c:v>3.3635916996172015E-2</c:v>
                </c:pt>
                <c:pt idx="10">
                  <c:v>1.1260755832984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2.0961684833031434E-3</c:v>
                </c:pt>
                <c:pt idx="4">
                  <c:v>4.2310797289750679E-2</c:v>
                </c:pt>
                <c:pt idx="5">
                  <c:v>1.4619105818097845E-3</c:v>
                </c:pt>
                <c:pt idx="6">
                  <c:v>0.12444061231207575</c:v>
                </c:pt>
                <c:pt idx="7">
                  <c:v>2.602444516081143E-2</c:v>
                </c:pt>
                <c:pt idx="8">
                  <c:v>0.139078434734062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2408055063195327E-3</c:v>
                </c:pt>
                <c:pt idx="2">
                  <c:v>1.3995765935539875E-2</c:v>
                </c:pt>
                <c:pt idx="3">
                  <c:v>5.5229578643163904E-3</c:v>
                </c:pt>
                <c:pt idx="4">
                  <c:v>5.847257462007649E-3</c:v>
                </c:pt>
                <c:pt idx="5">
                  <c:v>7.9944580622029512E-2</c:v>
                </c:pt>
                <c:pt idx="6">
                  <c:v>2.6257339266024124E-2</c:v>
                </c:pt>
                <c:pt idx="7">
                  <c:v>8.0604057324217798E-2</c:v>
                </c:pt>
                <c:pt idx="8">
                  <c:v>0.12730775700634242</c:v>
                </c:pt>
                <c:pt idx="9">
                  <c:v>7.94505149451221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4179245370635902E-7</c:v>
                </c:pt>
                <c:pt idx="3">
                  <c:v>2.2281671296713562E-7</c:v>
                </c:pt>
                <c:pt idx="4">
                  <c:v>1.3166442129876197E-7</c:v>
                </c:pt>
                <c:pt idx="6">
                  <c:v>2.407768541158516E-2</c:v>
                </c:pt>
                <c:pt idx="7">
                  <c:v>1.0893407816639185E-3</c:v>
                </c:pt>
                <c:pt idx="8">
                  <c:v>7.87349897115901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541257537623539E-2</c:v>
                </c:pt>
                <c:pt idx="1">
                  <c:v>7.8764999071613915E-3</c:v>
                </c:pt>
                <c:pt idx="2">
                  <c:v>2.3057276018487345E-3</c:v>
                </c:pt>
                <c:pt idx="3">
                  <c:v>4.7919063571036256E-3</c:v>
                </c:pt>
                <c:pt idx="4">
                  <c:v>4.0405684009784445E-3</c:v>
                </c:pt>
                <c:pt idx="5">
                  <c:v>1.039160432297238E-2</c:v>
                </c:pt>
                <c:pt idx="6">
                  <c:v>2.785783171526706E-2</c:v>
                </c:pt>
                <c:pt idx="7">
                  <c:v>5.1866575610253707E-2</c:v>
                </c:pt>
                <c:pt idx="8">
                  <c:v>1.984211187463083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9E-2</c:v>
                </c:pt>
                <c:pt idx="1">
                  <c:v>3.4208146091019583E-2</c:v>
                </c:pt>
                <c:pt idx="2">
                  <c:v>4.638899137720838E-2</c:v>
                </c:pt>
                <c:pt idx="3">
                  <c:v>4.2363038609228514E-2</c:v>
                </c:pt>
                <c:pt idx="4">
                  <c:v>7.3599001227352398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2067234970202518E-4</c:v>
                </c:pt>
                <c:pt idx="1">
                  <c:v>2.8405607312913979E-6</c:v>
                </c:pt>
                <c:pt idx="2">
                  <c:v>2.000832835447843E-3</c:v>
                </c:pt>
                <c:pt idx="3">
                  <c:v>2.0922698191585174E-3</c:v>
                </c:pt>
                <c:pt idx="4">
                  <c:v>1.9837289047332017E-3</c:v>
                </c:pt>
                <c:pt idx="5">
                  <c:v>1.335072022992722E-2</c:v>
                </c:pt>
                <c:pt idx="6">
                  <c:v>0.20974885772815974</c:v>
                </c:pt>
                <c:pt idx="7">
                  <c:v>0.10680264267358276</c:v>
                </c:pt>
                <c:pt idx="8">
                  <c:v>5.3849702939730822E-3</c:v>
                </c:pt>
                <c:pt idx="9">
                  <c:v>1.24086715814302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6932347279614364E-7</c:v>
                </c:pt>
                <c:pt idx="1">
                  <c:v>2.3792966706217691E-2</c:v>
                </c:pt>
                <c:pt idx="2">
                  <c:v>3.1812117972593569E-2</c:v>
                </c:pt>
                <c:pt idx="4">
                  <c:v>2.1253269203768297E-3</c:v>
                </c:pt>
                <c:pt idx="5">
                  <c:v>0.12330438662645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224575664137333E-3</c:v>
                </c:pt>
                <c:pt idx="2">
                  <c:v>2.8526376568739032E-3</c:v>
                </c:pt>
                <c:pt idx="3">
                  <c:v>5.1450610165164013E-3</c:v>
                </c:pt>
                <c:pt idx="4">
                  <c:v>5.7721799067503875E-2</c:v>
                </c:pt>
                <c:pt idx="5">
                  <c:v>1.2534031764833841E-2</c:v>
                </c:pt>
                <c:pt idx="6">
                  <c:v>8.6587668068377394E-2</c:v>
                </c:pt>
                <c:pt idx="8">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985537730199132E-2</c:v>
                </c:pt>
                <c:pt idx="1">
                  <c:v>1.0412338824070604E-2</c:v>
                </c:pt>
                <c:pt idx="2">
                  <c:v>9.7234029122930648E-3</c:v>
                </c:pt>
                <c:pt idx="3">
                  <c:v>3.5125707773553602E-2</c:v>
                </c:pt>
                <c:pt idx="4">
                  <c:v>1.1768146334738484E-2</c:v>
                </c:pt>
                <c:pt idx="5">
                  <c:v>6.7473014037106302E-2</c:v>
                </c:pt>
                <c:pt idx="6">
                  <c:v>6.2165447508902738E-2</c:v>
                </c:pt>
                <c:pt idx="7">
                  <c:v>1.0004969709386895E-2</c:v>
                </c:pt>
                <c:pt idx="8">
                  <c:v>2.3439762057674576E-2</c:v>
                </c:pt>
                <c:pt idx="9">
                  <c:v>1.05801802291570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4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3375518511576435E-3</c:v>
                </c:pt>
                <c:pt idx="1">
                  <c:v>2.1602037164684789E-5</c:v>
                </c:pt>
                <c:pt idx="2">
                  <c:v>9.2131917006053315E-3</c:v>
                </c:pt>
                <c:pt idx="3">
                  <c:v>3.275023134431676E-5</c:v>
                </c:pt>
                <c:pt idx="4">
                  <c:v>1.4103430013893581E-3</c:v>
                </c:pt>
                <c:pt idx="5">
                  <c:v>4.3140155444401931E-2</c:v>
                </c:pt>
                <c:pt idx="6">
                  <c:v>0.11246984924594039</c:v>
                </c:pt>
                <c:pt idx="7">
                  <c:v>4.5377856469198716E-2</c:v>
                </c:pt>
                <c:pt idx="8">
                  <c:v>1.7636134591646855E-3</c:v>
                </c:pt>
                <c:pt idx="9">
                  <c:v>6.1438893951009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1180255460291005E-3</c:v>
                </c:pt>
                <c:pt idx="2">
                  <c:v>5.0127102914921035E-2</c:v>
                </c:pt>
                <c:pt idx="3">
                  <c:v>1.7280858230420521E-3</c:v>
                </c:pt>
                <c:pt idx="4">
                  <c:v>2.6365247784431421E-2</c:v>
                </c:pt>
                <c:pt idx="5">
                  <c:v>0.1007955683112156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2.1212428994393153E-4</c:v>
                </c:pt>
                <c:pt idx="2">
                  <c:v>9.317537255124032E-3</c:v>
                </c:pt>
                <c:pt idx="3">
                  <c:v>2.6069029849810682E-4</c:v>
                </c:pt>
                <c:pt idx="4">
                  <c:v>6.6651696969245763E-2</c:v>
                </c:pt>
                <c:pt idx="5">
                  <c:v>2.5915848261273244E-2</c:v>
                </c:pt>
                <c:pt idx="6">
                  <c:v>7.5755991257501265E-2</c:v>
                </c:pt>
                <c:pt idx="8">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764937239717154E-2</c:v>
                </c:pt>
                <c:pt idx="1">
                  <c:v>1.2207311201763375E-2</c:v>
                </c:pt>
                <c:pt idx="2">
                  <c:v>1.8966742930858708E-2</c:v>
                </c:pt>
                <c:pt idx="3">
                  <c:v>2.8261328021495263E-2</c:v>
                </c:pt>
                <c:pt idx="4">
                  <c:v>4.5850478182308925E-2</c:v>
                </c:pt>
                <c:pt idx="5">
                  <c:v>0.11965464823184818</c:v>
                </c:pt>
                <c:pt idx="6">
                  <c:v>2.9760586550857119E-2</c:v>
                </c:pt>
                <c:pt idx="7">
                  <c:v>1.1203742275198304E-2</c:v>
                </c:pt>
                <c:pt idx="8">
                  <c:v>7.6324240560131568E-2</c:v>
                </c:pt>
                <c:pt idx="9">
                  <c:v>7.10795745370770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1E-2</c:v>
                </c:pt>
                <c:pt idx="1">
                  <c:v>8.6420771688770298E-2</c:v>
                </c:pt>
                <c:pt idx="2">
                  <c:v>1.497950272481768E-2</c:v>
                </c:pt>
                <c:pt idx="3">
                  <c:v>3.8435745481682639E-2</c:v>
                </c:pt>
                <c:pt idx="4">
                  <c:v>9.2213614362690724E-2</c:v>
                </c:pt>
                <c:pt idx="5">
                  <c:v>0.23543198442819935</c:v>
                </c:pt>
                <c:pt idx="6">
                  <c:v>0.18117729862300255</c:v>
                </c:pt>
                <c:pt idx="7">
                  <c:v>0.20368518910803782</c:v>
                </c:pt>
                <c:pt idx="8">
                  <c:v>9.7217979514334779E-2</c:v>
                </c:pt>
                <c:pt idx="9">
                  <c:v>2.85902206518969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4.2428664933548254E-3</c:v>
                </c:pt>
                <c:pt idx="3">
                  <c:v>9.8194024376712114E-3</c:v>
                </c:pt>
                <c:pt idx="4">
                  <c:v>1.1778201192094651E-2</c:v>
                </c:pt>
                <c:pt idx="5">
                  <c:v>2.2363432229188829E-6</c:v>
                </c:pt>
                <c:pt idx="6">
                  <c:v>1.1011135466633473E-2</c:v>
                </c:pt>
                <c:pt idx="7">
                  <c:v>0.19000214688949399</c:v>
                </c:pt>
                <c:pt idx="8">
                  <c:v>4.5250168772540678E-2</c:v>
                </c:pt>
                <c:pt idx="9">
                  <c:v>1.8204166906954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0456139789913159E-3</c:v>
                </c:pt>
                <c:pt idx="1">
                  <c:v>7.5389509133130556E-2</c:v>
                </c:pt>
                <c:pt idx="2">
                  <c:v>7.0250202079780166E-3</c:v>
                </c:pt>
                <c:pt idx="4">
                  <c:v>2.5381543944715312E-2</c:v>
                </c:pt>
                <c:pt idx="5">
                  <c:v>0.15677080032347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3686511881263308E-3</c:v>
                </c:pt>
                <c:pt idx="4">
                  <c:v>3.5295110706602621E-2</c:v>
                </c:pt>
                <c:pt idx="6">
                  <c:v>0.12133356286779519</c:v>
                </c:pt>
                <c:pt idx="7">
                  <c:v>5.0100273823574029E-3</c:v>
                </c:pt>
                <c:pt idx="8">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802079437575857E-2</c:v>
                </c:pt>
                <c:pt idx="1">
                  <c:v>1.1031262555639744E-2</c:v>
                </c:pt>
                <c:pt idx="2">
                  <c:v>3.7116160234848396E-3</c:v>
                </c:pt>
                <c:pt idx="3">
                  <c:v>2.3247691855885096E-2</c:v>
                </c:pt>
                <c:pt idx="4">
                  <c:v>1.9758758519278136E-2</c:v>
                </c:pt>
                <c:pt idx="5">
                  <c:v>7.8658947761496567E-2</c:v>
                </c:pt>
                <c:pt idx="6">
                  <c:v>4.8832600288573919E-2</c:v>
                </c:pt>
                <c:pt idx="7">
                  <c:v>8.6730148361864323E-3</c:v>
                </c:pt>
                <c:pt idx="8">
                  <c:v>2.4761934126654679E-2</c:v>
                </c:pt>
                <c:pt idx="9">
                  <c:v>1.0386053744942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6267520693014</c:v>
                </c:pt>
                <c:pt idx="1">
                  <c:v>1.2898882045537288E-2</c:v>
                </c:pt>
                <c:pt idx="2">
                  <c:v>1.7946845665942627E-2</c:v>
                </c:pt>
                <c:pt idx="3">
                  <c:v>2.9438823787704141E-2</c:v>
                </c:pt>
                <c:pt idx="4">
                  <c:v>9.6520940868899327E-2</c:v>
                </c:pt>
                <c:pt idx="5">
                  <c:v>8.4411859545073936E-2</c:v>
                </c:pt>
                <c:pt idx="6">
                  <c:v>0.18500629086262083</c:v>
                </c:pt>
                <c:pt idx="7">
                  <c:v>0.25423137173567506</c:v>
                </c:pt>
                <c:pt idx="8">
                  <c:v>0.10018099339047251</c:v>
                </c:pt>
                <c:pt idx="9">
                  <c:v>2.0525372145960695E-2</c:v>
                </c:pt>
                <c:pt idx="10">
                  <c:v>3.875944745183480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86971688711839E-2</c:v>
                </c:pt>
                <c:pt idx="1">
                  <c:v>1.5974459595292229E-3</c:v>
                </c:pt>
                <c:pt idx="2">
                  <c:v>1.8387168246666462E-5</c:v>
                </c:pt>
                <c:pt idx="3">
                  <c:v>7.3490810415649749E-3</c:v>
                </c:pt>
                <c:pt idx="4">
                  <c:v>1.2773537530529365E-2</c:v>
                </c:pt>
                <c:pt idx="5">
                  <c:v>4.9918432269753024E-2</c:v>
                </c:pt>
                <c:pt idx="6">
                  <c:v>3.0035188328909276E-2</c:v>
                </c:pt>
                <c:pt idx="7">
                  <c:v>0.11509931168295184</c:v>
                </c:pt>
                <c:pt idx="8">
                  <c:v>7.2608145043608824E-2</c:v>
                </c:pt>
                <c:pt idx="9">
                  <c:v>1.8933787642518948E-2</c:v>
                </c:pt>
                <c:pt idx="10">
                  <c:v>3.725648393703323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2174329166919292E-2</c:v>
                </c:pt>
                <c:pt idx="5">
                  <c:v>3.2737045210557078E-3</c:v>
                </c:pt>
                <c:pt idx="6">
                  <c:v>6.4598286448432213E-2</c:v>
                </c:pt>
                <c:pt idx="7">
                  <c:v>4.07556553417644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9024733702505884E-4</c:v>
                </c:pt>
                <c:pt idx="2">
                  <c:v>5.5563311213124834E-4</c:v>
                </c:pt>
                <c:pt idx="3">
                  <c:v>4.8828124206091788E-4</c:v>
                </c:pt>
                <c:pt idx="4">
                  <c:v>7.5690624640823226E-4</c:v>
                </c:pt>
                <c:pt idx="5">
                  <c:v>2.6462238589423765E-3</c:v>
                </c:pt>
                <c:pt idx="6">
                  <c:v>9.0242847848843175E-4</c:v>
                </c:pt>
                <c:pt idx="7">
                  <c:v>2.7495490946863193E-2</c:v>
                </c:pt>
                <c:pt idx="8">
                  <c:v>3.944329077005696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2590271098278669</c:v>
                </c:pt>
                <c:pt idx="1">
                  <c:v>1.1301436086008063E-2</c:v>
                </c:pt>
                <c:pt idx="2">
                  <c:v>1.7372825385564714E-2</c:v>
                </c:pt>
                <c:pt idx="3">
                  <c:v>2.1601461504078247E-2</c:v>
                </c:pt>
                <c:pt idx="4">
                  <c:v>5.0816167925042434E-2</c:v>
                </c:pt>
                <c:pt idx="5">
                  <c:v>2.8573498895322832E-2</c:v>
                </c:pt>
                <c:pt idx="6">
                  <c:v>8.9470387606790894E-2</c:v>
                </c:pt>
                <c:pt idx="7">
                  <c:v>0.10756100357168356</c:v>
                </c:pt>
                <c:pt idx="8">
                  <c:v>2.7178415439163134E-2</c:v>
                </c:pt>
                <c:pt idx="9">
                  <c:v>1.59158450344174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2E-2</c:v>
                </c:pt>
                <c:pt idx="5">
                  <c:v>0.11494751174683013</c:v>
                </c:pt>
                <c:pt idx="6">
                  <c:v>0.17365993639694652</c:v>
                </c:pt>
                <c:pt idx="7">
                  <c:v>0.17952376942204423</c:v>
                </c:pt>
                <c:pt idx="8">
                  <c:v>8.2893600058558198E-2</c:v>
                </c:pt>
                <c:pt idx="9">
                  <c:v>1.0852694598812915E-2</c:v>
                </c:pt>
                <c:pt idx="10">
                  <c:v>7.80182996086873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9.0782490226790774E-2</c:v>
                </c:pt>
                <c:pt idx="1">
                  <c:v>3.6498678989089948E-3</c:v>
                </c:pt>
                <c:pt idx="2">
                  <c:v>1.3021314977468314E-4</c:v>
                </c:pt>
                <c:pt idx="3">
                  <c:v>2.4115791299788969E-2</c:v>
                </c:pt>
                <c:pt idx="4">
                  <c:v>3.4095393137324376E-2</c:v>
                </c:pt>
                <c:pt idx="5">
                  <c:v>5.0090418365926447E-2</c:v>
                </c:pt>
                <c:pt idx="6">
                  <c:v>4.3030400579000906E-2</c:v>
                </c:pt>
                <c:pt idx="7">
                  <c:v>8.4587082630668844E-2</c:v>
                </c:pt>
                <c:pt idx="8">
                  <c:v>1.8760286273090294E-2</c:v>
                </c:pt>
                <c:pt idx="9">
                  <c:v>7.89996305385118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6529993479664411E-2</c:v>
                </c:pt>
                <c:pt idx="5">
                  <c:v>1.5983326112948473E-2</c:v>
                </c:pt>
                <c:pt idx="6">
                  <c:v>3.6642299154613651E-2</c:v>
                </c:pt>
                <c:pt idx="7">
                  <c:v>7.044404733553281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ocha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5422420267787064E-2</c:v>
                </c:pt>
                <c:pt idx="1">
                  <c:v>7.2585754055184613E-7</c:v>
                </c:pt>
                <c:pt idx="2">
                  <c:v>9.4233387764583793E-5</c:v>
                </c:pt>
                <c:pt idx="3">
                  <c:v>4.4496063510883832E-3</c:v>
                </c:pt>
                <c:pt idx="4">
                  <c:v>7.903706201560306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3511243198839379</c:v>
                </c:pt>
                <c:pt idx="1">
                  <c:v>2.0344719424108614E-2</c:v>
                </c:pt>
                <c:pt idx="2">
                  <c:v>1.7689205193251671E-2</c:v>
                </c:pt>
                <c:pt idx="3">
                  <c:v>1.9031700063253505E-2</c:v>
                </c:pt>
                <c:pt idx="4">
                  <c:v>2.7989806853720534E-2</c:v>
                </c:pt>
                <c:pt idx="5">
                  <c:v>4.8873767267955191E-2</c:v>
                </c:pt>
                <c:pt idx="6">
                  <c:v>9.3987236663331947E-2</c:v>
                </c:pt>
                <c:pt idx="7">
                  <c:v>8.7892282057822069E-2</c:v>
                </c:pt>
                <c:pt idx="8">
                  <c:v>6.413331378546791E-2</c:v>
                </c:pt>
                <c:pt idx="9">
                  <c:v>2.9527315449617295E-3</c:v>
                </c:pt>
                <c:pt idx="10">
                  <c:v>7.8018299608687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34487526752247</c:v>
                </c:pt>
                <c:pt idx="1">
                  <c:v>8.6388730647585267E-3</c:v>
                </c:pt>
                <c:pt idx="2">
                  <c:v>7.0231276717453266E-3</c:v>
                </c:pt>
                <c:pt idx="3">
                  <c:v>2.7029708298252682E-2</c:v>
                </c:pt>
                <c:pt idx="4">
                  <c:v>9.9634202523714965E-2</c:v>
                </c:pt>
                <c:pt idx="5">
                  <c:v>8.093983357307101E-2</c:v>
                </c:pt>
                <c:pt idx="6">
                  <c:v>0.20959900182304106</c:v>
                </c:pt>
                <c:pt idx="7">
                  <c:v>0.23816393941505132</c:v>
                </c:pt>
                <c:pt idx="8">
                  <c:v>0.1377539702635304</c:v>
                </c:pt>
                <c:pt idx="9">
                  <c:v>6.5697004068989789E-2</c:v>
                </c:pt>
                <c:pt idx="10">
                  <c:v>1.41754640303225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2543591800751919E-2</c:v>
                </c:pt>
                <c:pt idx="1">
                  <c:v>2.7590807500733382E-3</c:v>
                </c:pt>
                <c:pt idx="3">
                  <c:v>7.7166322509403243E-3</c:v>
                </c:pt>
                <c:pt idx="4">
                  <c:v>5.9735084658300841E-4</c:v>
                </c:pt>
                <c:pt idx="5">
                  <c:v>3.1830293047899576E-2</c:v>
                </c:pt>
                <c:pt idx="6">
                  <c:v>1.9441112333369377E-2</c:v>
                </c:pt>
                <c:pt idx="7">
                  <c:v>0.11073277241406766</c:v>
                </c:pt>
                <c:pt idx="8">
                  <c:v>0.11577682853613365</c:v>
                </c:pt>
                <c:pt idx="9">
                  <c:v>6.50042670327481E-2</c:v>
                </c:pt>
                <c:pt idx="10">
                  <c:v>1.415805514399696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231195239816684E-2</c:v>
                </c:pt>
                <c:pt idx="5">
                  <c:v>3.3488236434268716E-3</c:v>
                </c:pt>
                <c:pt idx="6">
                  <c:v>7.52887100167054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31413019586515E-5</c:v>
                </c:pt>
                <c:pt idx="1">
                  <c:v>3.2581270568675103E-3</c:v>
                </c:pt>
                <c:pt idx="2">
                  <c:v>1.4175084476114822E-4</c:v>
                </c:pt>
                <c:pt idx="4">
                  <c:v>6.4359741815419582E-4</c:v>
                </c:pt>
                <c:pt idx="5">
                  <c:v>1.0636289734475685E-3</c:v>
                </c:pt>
                <c:pt idx="6">
                  <c:v>3.4325693272629403E-2</c:v>
                </c:pt>
                <c:pt idx="7">
                  <c:v>3.074734054801217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8775052053750947E-2</c:v>
                </c:pt>
                <c:pt idx="1">
                  <c:v>2.6216652578176778E-3</c:v>
                </c:pt>
                <c:pt idx="2">
                  <c:v>6.8813768269841789E-3</c:v>
                </c:pt>
                <c:pt idx="3">
                  <c:v>1.9313076047312357E-2</c:v>
                </c:pt>
                <c:pt idx="4">
                  <c:v>5.9162059019161078E-2</c:v>
                </c:pt>
                <c:pt idx="5">
                  <c:v>4.4697087908297004E-2</c:v>
                </c:pt>
                <c:pt idx="6">
                  <c:v>8.05434862003368E-2</c:v>
                </c:pt>
                <c:pt idx="7">
                  <c:v>9.6683826452971466E-2</c:v>
                </c:pt>
                <c:pt idx="8">
                  <c:v>2.1977141727396746E-2</c:v>
                </c:pt>
                <c:pt idx="9">
                  <c:v>6.9273703624169142E-4</c:v>
                </c:pt>
                <c:pt idx="10">
                  <c:v>1.740888632553908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6999999999999999E-3</c:v>
                </c:pt>
                <c:pt idx="5">
                  <c:v>0.2286</c:v>
                </c:pt>
                <c:pt idx="6">
                  <c:v>8.0100000000000005E-2</c:v>
                </c:pt>
                <c:pt idx="7">
                  <c:v>0.17910000000000001</c:v>
                </c:pt>
                <c:pt idx="8">
                  <c:v>0.45839999999999997</c:v>
                </c:pt>
                <c:pt idx="9">
                  <c:v>4.7100000000000003E-2</c:v>
                </c:pt>
                <c:pt idx="10">
                  <c:v>5.199999999999999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5590602913538E-2</c:v>
                </c:pt>
                <c:pt idx="1">
                  <c:v>1.639080822621522E-2</c:v>
                </c:pt>
                <c:pt idx="2">
                  <c:v>2.8305055337770453E-2</c:v>
                </c:pt>
                <c:pt idx="3">
                  <c:v>4.2299900341770766E-2</c:v>
                </c:pt>
                <c:pt idx="4">
                  <c:v>8.7002200153398351E-2</c:v>
                </c:pt>
                <c:pt idx="5">
                  <c:v>9.608248837393922E-2</c:v>
                </c:pt>
                <c:pt idx="6">
                  <c:v>0.11481066318864561</c:v>
                </c:pt>
                <c:pt idx="7">
                  <c:v>0.16443901429586391</c:v>
                </c:pt>
                <c:pt idx="8">
                  <c:v>0.21200061384242316</c:v>
                </c:pt>
                <c:pt idx="9">
                  <c:v>0.11609279258285989</c:v>
                </c:pt>
                <c:pt idx="10">
                  <c:v>6.05008730541998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66596838760698E-2</c:v>
                </c:pt>
                <c:pt idx="1">
                  <c:v>6.5561221067472991E-4</c:v>
                </c:pt>
                <c:pt idx="2">
                  <c:v>1.8510121405579355E-3</c:v>
                </c:pt>
                <c:pt idx="3">
                  <c:v>0.14860482656659568</c:v>
                </c:pt>
                <c:pt idx="4">
                  <c:v>0.35492013915559961</c:v>
                </c:pt>
                <c:pt idx="5">
                  <c:v>9.2350015534680946E-2</c:v>
                </c:pt>
                <c:pt idx="6">
                  <c:v>2.4791251760488339E-2</c:v>
                </c:pt>
                <c:pt idx="7">
                  <c:v>0.12812412643390092</c:v>
                </c:pt>
                <c:pt idx="8">
                  <c:v>0.22102683231769249</c:v>
                </c:pt>
                <c:pt idx="9">
                  <c:v>7.43898586373716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2075590602913538E-2</c:v>
                </c:pt>
                <c:pt idx="1">
                  <c:v>1.639080822621522E-2</c:v>
                </c:pt>
                <c:pt idx="2">
                  <c:v>2.8305055337770453E-2</c:v>
                </c:pt>
                <c:pt idx="3">
                  <c:v>4.2299900341770766E-2</c:v>
                </c:pt>
                <c:pt idx="4">
                  <c:v>8.7002200153398351E-2</c:v>
                </c:pt>
                <c:pt idx="5">
                  <c:v>9.608248837393922E-2</c:v>
                </c:pt>
                <c:pt idx="6">
                  <c:v>0.11481066318864561</c:v>
                </c:pt>
                <c:pt idx="7">
                  <c:v>0.16443901429586391</c:v>
                </c:pt>
                <c:pt idx="8">
                  <c:v>0.21200061384242316</c:v>
                </c:pt>
                <c:pt idx="9">
                  <c:v>0.11609279258285989</c:v>
                </c:pt>
                <c:pt idx="10">
                  <c:v>6.05008730541998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3027326123011942E-9</c:v>
                </c:pt>
                <c:pt idx="4">
                  <c:v>2.2030880278308401E-5</c:v>
                </c:pt>
                <c:pt idx="5">
                  <c:v>3.027130699712801E-3</c:v>
                </c:pt>
                <c:pt idx="6">
                  <c:v>1.0604486537568623E-3</c:v>
                </c:pt>
                <c:pt idx="7">
                  <c:v>2.3716758350342034E-3</c:v>
                </c:pt>
                <c:pt idx="8">
                  <c:v>6.0711672576997363E-3</c:v>
                </c:pt>
                <c:pt idx="9">
                  <c:v>6.234800731188243E-4</c:v>
                </c:pt>
                <c:pt idx="10">
                  <c:v>6.8891825877963946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1537510215676431E-2</c:v>
                </c:pt>
                <c:pt idx="1">
                  <c:v>2.245484194824259E-3</c:v>
                </c:pt>
                <c:pt idx="2">
                  <c:v>4.1883412683697187E-3</c:v>
                </c:pt>
                <c:pt idx="3">
                  <c:v>1.2191051165558265E-2</c:v>
                </c:pt>
                <c:pt idx="4">
                  <c:v>4.0898355773922319E-2</c:v>
                </c:pt>
                <c:pt idx="5">
                  <c:v>3.0289510317929907E-2</c:v>
                </c:pt>
                <c:pt idx="6">
                  <c:v>3.5259635850915266E-2</c:v>
                </c:pt>
                <c:pt idx="7">
                  <c:v>5.7459709256012202E-2</c:v>
                </c:pt>
                <c:pt idx="8">
                  <c:v>0.11288499469595145</c:v>
                </c:pt>
                <c:pt idx="9">
                  <c:v>8.779489367640271E-2</c:v>
                </c:pt>
                <c:pt idx="10">
                  <c:v>5.25332167691386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0023395627692385E-5</c:v>
                </c:pt>
                <c:pt idx="1">
                  <c:v>9.890183701624949E-5</c:v>
                </c:pt>
                <c:pt idx="2">
                  <c:v>2.5375316005909283E-4</c:v>
                </c:pt>
                <c:pt idx="3">
                  <c:v>2.0672345557806303E-4</c:v>
                </c:pt>
                <c:pt idx="4">
                  <c:v>3.8650890334395458E-4</c:v>
                </c:pt>
                <c:pt idx="5">
                  <c:v>1.3987878297801374E-2</c:v>
                </c:pt>
                <c:pt idx="6">
                  <c:v>6.1974615424122241E-3</c:v>
                </c:pt>
                <c:pt idx="7">
                  <c:v>2.1302252231527341E-3</c:v>
                </c:pt>
                <c:pt idx="8">
                  <c:v>8.5670317502451344E-4</c:v>
                </c:pt>
                <c:pt idx="10">
                  <c:v>5.865142890932853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87129324469408E-3</c:v>
                </c:pt>
                <c:pt idx="1">
                  <c:v>1.6332966891387361E-3</c:v>
                </c:pt>
                <c:pt idx="2">
                  <c:v>1.8461352102498892E-3</c:v>
                </c:pt>
                <c:pt idx="3">
                  <c:v>2.2267309927587398E-4</c:v>
                </c:pt>
                <c:pt idx="4">
                  <c:v>1.7034857202900685E-3</c:v>
                </c:pt>
                <c:pt idx="5">
                  <c:v>6.4881888472646063E-3</c:v>
                </c:pt>
                <c:pt idx="6">
                  <c:v>7.4645169868802234E-3</c:v>
                </c:pt>
                <c:pt idx="7">
                  <c:v>1.3014392047457924E-2</c:v>
                </c:pt>
                <c:pt idx="8">
                  <c:v>1.1484635620656504E-2</c:v>
                </c:pt>
                <c:pt idx="9">
                  <c:v>1.1462309026454202E-2</c:v>
                </c:pt>
                <c:pt idx="10">
                  <c:v>7.856935023616200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069337756429866E-2</c:v>
                </c:pt>
                <c:pt idx="1">
                  <c:v>1.241312550523597E-2</c:v>
                </c:pt>
                <c:pt idx="2">
                  <c:v>2.2016825699091754E-2</c:v>
                </c:pt>
                <c:pt idx="3">
                  <c:v>2.9679452621358557E-2</c:v>
                </c:pt>
                <c:pt idx="4">
                  <c:v>4.39918188755637E-2</c:v>
                </c:pt>
                <c:pt idx="5">
                  <c:v>4.2289780211230539E-2</c:v>
                </c:pt>
                <c:pt idx="6">
                  <c:v>6.4828600154681018E-2</c:v>
                </c:pt>
                <c:pt idx="7">
                  <c:v>8.9463011934206832E-2</c:v>
                </c:pt>
                <c:pt idx="8">
                  <c:v>8.0703113093090986E-2</c:v>
                </c:pt>
                <c:pt idx="9">
                  <c:v>1.6212109806884149E-2</c:v>
                </c:pt>
                <c:pt idx="10">
                  <c:v>7.885042381268747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6.7999999999999996E-3</c:v>
                </c:pt>
                <c:pt idx="5">
                  <c:v>0.1512</c:v>
                </c:pt>
                <c:pt idx="6">
                  <c:v>0.1555</c:v>
                </c:pt>
                <c:pt idx="7">
                  <c:v>0.29189999999999999</c:v>
                </c:pt>
                <c:pt idx="8">
                  <c:v>0.33700000000000002</c:v>
                </c:pt>
                <c:pt idx="9">
                  <c:v>5.1400000000000001E-2</c:v>
                </c:pt>
                <c:pt idx="10">
                  <c:v>6.199999999999999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51E-2</c:v>
                </c:pt>
                <c:pt idx="1">
                  <c:v>2.7620932864173206E-2</c:v>
                </c:pt>
                <c:pt idx="2">
                  <c:v>3.321975086399976E-2</c:v>
                </c:pt>
                <c:pt idx="3">
                  <c:v>5.0673883901639509E-2</c:v>
                </c:pt>
                <c:pt idx="4">
                  <c:v>8.0498478937970977E-2</c:v>
                </c:pt>
                <c:pt idx="5">
                  <c:v>0.11300954238676617</c:v>
                </c:pt>
                <c:pt idx="6">
                  <c:v>0.13054828460312656</c:v>
                </c:pt>
                <c:pt idx="7">
                  <c:v>0.16999688993527615</c:v>
                </c:pt>
                <c:pt idx="8">
                  <c:v>0.17596357403605906</c:v>
                </c:pt>
                <c:pt idx="9">
                  <c:v>0.1247508482589552</c:v>
                </c:pt>
                <c:pt idx="10">
                  <c:v>2.30206666653028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015537298153619E-8</c:v>
                </c:pt>
                <c:pt idx="4">
                  <c:v>1.0924894997290601E-4</c:v>
                </c:pt>
                <c:pt idx="5">
                  <c:v>2.4172512273142985E-3</c:v>
                </c:pt>
                <c:pt idx="6">
                  <c:v>2.4872310522562045E-3</c:v>
                </c:pt>
                <c:pt idx="7">
                  <c:v>4.6678336585636963E-3</c:v>
                </c:pt>
                <c:pt idx="8">
                  <c:v>5.3888630087720879E-3</c:v>
                </c:pt>
                <c:pt idx="9">
                  <c:v>8.2185788783270053E-4</c:v>
                </c:pt>
                <c:pt idx="10">
                  <c:v>9.8397389572541408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3069188362529549E-2</c:v>
                </c:pt>
                <c:pt idx="1">
                  <c:v>6.7719151245464616E-3</c:v>
                </c:pt>
                <c:pt idx="2">
                  <c:v>8.0226464748428782E-3</c:v>
                </c:pt>
                <c:pt idx="3">
                  <c:v>1.2031283771403632E-2</c:v>
                </c:pt>
                <c:pt idx="4">
                  <c:v>2.854363725578982E-2</c:v>
                </c:pt>
                <c:pt idx="5">
                  <c:v>4.0881534773557035E-2</c:v>
                </c:pt>
                <c:pt idx="6">
                  <c:v>4.5462132927523519E-2</c:v>
                </c:pt>
                <c:pt idx="7">
                  <c:v>5.1487648851214561E-2</c:v>
                </c:pt>
                <c:pt idx="8">
                  <c:v>7.984020946647484E-2</c:v>
                </c:pt>
                <c:pt idx="9">
                  <c:v>9.3795015616492172E-2</c:v>
                </c:pt>
                <c:pt idx="10">
                  <c:v>1.6961998277282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6949239404878965E-8</c:v>
                </c:pt>
                <c:pt idx="1">
                  <c:v>1.458582667390066E-4</c:v>
                </c:pt>
                <c:pt idx="2">
                  <c:v>7.0414034353771587E-4</c:v>
                </c:pt>
                <c:pt idx="3">
                  <c:v>3.6955655324634191E-4</c:v>
                </c:pt>
                <c:pt idx="4">
                  <c:v>3.3291007919560734E-3</c:v>
                </c:pt>
                <c:pt idx="5">
                  <c:v>1.3581920957382672E-2</c:v>
                </c:pt>
                <c:pt idx="6">
                  <c:v>5.2992037059156737E-3</c:v>
                </c:pt>
                <c:pt idx="7">
                  <c:v>2.363480144909E-3</c:v>
                </c:pt>
                <c:pt idx="8">
                  <c:v>7.6660378061651536E-4</c:v>
                </c:pt>
                <c:pt idx="9">
                  <c:v>4.1077174001982182E-7</c:v>
                </c:pt>
                <c:pt idx="10">
                  <c:v>4.954576832406081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8179328086945236E-3</c:v>
                </c:pt>
                <c:pt idx="1">
                  <c:v>2.4154203123220035E-3</c:v>
                </c:pt>
                <c:pt idx="2">
                  <c:v>1.839366437101204E-3</c:v>
                </c:pt>
                <c:pt idx="3">
                  <c:v>9.6860466282844987E-4</c:v>
                </c:pt>
                <c:pt idx="4">
                  <c:v>2.224397570271275E-3</c:v>
                </c:pt>
                <c:pt idx="5">
                  <c:v>3.2821535836255375E-3</c:v>
                </c:pt>
                <c:pt idx="6">
                  <c:v>9.0204175644999721E-3</c:v>
                </c:pt>
                <c:pt idx="7">
                  <c:v>1.3447783159853934E-2</c:v>
                </c:pt>
                <c:pt idx="8">
                  <c:v>1.1212361717378827E-2</c:v>
                </c:pt>
                <c:pt idx="9">
                  <c:v>9.1256167787695814E-3</c:v>
                </c:pt>
                <c:pt idx="10">
                  <c:v>1.6332872366593312E-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809959410729725E-2</c:v>
                </c:pt>
                <c:pt idx="1">
                  <c:v>1.8287739160565739E-2</c:v>
                </c:pt>
                <c:pt idx="2">
                  <c:v>2.2653597608517963E-2</c:v>
                </c:pt>
                <c:pt idx="3">
                  <c:v>3.7304438914161082E-2</c:v>
                </c:pt>
                <c:pt idx="4">
                  <c:v>4.6292094369980906E-2</c:v>
                </c:pt>
                <c:pt idx="5">
                  <c:v>5.2846681844886625E-2</c:v>
                </c:pt>
                <c:pt idx="6">
                  <c:v>6.82792993529312E-2</c:v>
                </c:pt>
                <c:pt idx="7">
                  <c:v>9.8030144120734936E-2</c:v>
                </c:pt>
                <c:pt idx="8">
                  <c:v>7.8755536062816808E-2</c:v>
                </c:pt>
                <c:pt idx="9">
                  <c:v>2.100794720412074E-2</c:v>
                </c:pt>
                <c:pt idx="10">
                  <c:v>5.95530008874343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8.9999999999999998E-4</c:v>
                </c:pt>
                <c:pt idx="5">
                  <c:v>0.26479999999999998</c:v>
                </c:pt>
                <c:pt idx="6">
                  <c:v>0.1105</c:v>
                </c:pt>
                <c:pt idx="7">
                  <c:v>0.1152</c:v>
                </c:pt>
                <c:pt idx="8">
                  <c:v>0.45269999999999999</c:v>
                </c:pt>
                <c:pt idx="9">
                  <c:v>5.21E-2</c:v>
                </c:pt>
                <c:pt idx="10">
                  <c:v>3.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6140754915016E-2</c:v>
                </c:pt>
                <c:pt idx="1">
                  <c:v>1.5633277822468455E-2</c:v>
                </c:pt>
                <c:pt idx="2">
                  <c:v>2.8142038356699532E-2</c:v>
                </c:pt>
                <c:pt idx="3">
                  <c:v>6.0911867845577033E-2</c:v>
                </c:pt>
                <c:pt idx="4">
                  <c:v>9.3166401312493333E-2</c:v>
                </c:pt>
                <c:pt idx="5">
                  <c:v>9.3267342556455732E-2</c:v>
                </c:pt>
                <c:pt idx="6">
                  <c:v>0.10621791691026569</c:v>
                </c:pt>
                <c:pt idx="7">
                  <c:v>0.17286318021440519</c:v>
                </c:pt>
                <c:pt idx="8">
                  <c:v>0.1708689325128169</c:v>
                </c:pt>
                <c:pt idx="9">
                  <c:v>0.13656175115690375</c:v>
                </c:pt>
                <c:pt idx="10">
                  <c:v>5.82011505569994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2563846968820616E-5</c:v>
                </c:pt>
                <c:pt idx="5">
                  <c:v>3.9100962025063971E-3</c:v>
                </c:pt>
                <c:pt idx="6">
                  <c:v>1.6312763370760876E-3</c:v>
                </c:pt>
                <c:pt idx="7">
                  <c:v>1.7009624633459602E-3</c:v>
                </c:pt>
                <c:pt idx="8">
                  <c:v>6.6847522274163847E-3</c:v>
                </c:pt>
                <c:pt idx="9">
                  <c:v>7.6942001842197948E-4</c:v>
                </c:pt>
                <c:pt idx="10">
                  <c:v>5.656110786975414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7089274358492173E-2</c:v>
                </c:pt>
                <c:pt idx="1">
                  <c:v>2.1371034790636225E-3</c:v>
                </c:pt>
                <c:pt idx="2">
                  <c:v>2.6646294865092096E-3</c:v>
                </c:pt>
                <c:pt idx="3">
                  <c:v>2.4656637403743072E-2</c:v>
                </c:pt>
                <c:pt idx="4">
                  <c:v>4.454787378520015E-2</c:v>
                </c:pt>
                <c:pt idx="5">
                  <c:v>2.4827158932781361E-2</c:v>
                </c:pt>
                <c:pt idx="6">
                  <c:v>2.249622897237815E-2</c:v>
                </c:pt>
                <c:pt idx="7">
                  <c:v>6.3901289859993451E-2</c:v>
                </c:pt>
                <c:pt idx="8">
                  <c:v>7.9893973122182854E-2</c:v>
                </c:pt>
                <c:pt idx="9">
                  <c:v>0.10663760352720539</c:v>
                </c:pt>
                <c:pt idx="10">
                  <c:v>5.267850125360192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165112713714903E-3</c:v>
                </c:pt>
                <c:pt idx="1">
                  <c:v>8.957503627609252E-4</c:v>
                </c:pt>
                <c:pt idx="2">
                  <c:v>1.3216872928955544E-3</c:v>
                </c:pt>
                <c:pt idx="3">
                  <c:v>4.2015544370509162E-4</c:v>
                </c:pt>
                <c:pt idx="4">
                  <c:v>5.8754975614952517E-3</c:v>
                </c:pt>
                <c:pt idx="5">
                  <c:v>1.1443974681209432E-2</c:v>
                </c:pt>
                <c:pt idx="6">
                  <c:v>7.7223489694198547E-3</c:v>
                </c:pt>
                <c:pt idx="7">
                  <c:v>1.910559424660908E-2</c:v>
                </c:pt>
                <c:pt idx="8">
                  <c:v>1.3330850398370094E-2</c:v>
                </c:pt>
                <c:pt idx="9">
                  <c:v>1.3005318402792026E-2</c:v>
                </c:pt>
                <c:pt idx="10">
                  <c:v>9.791802166925123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ichesmont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13815364391465E-2</c:v>
                </c:pt>
                <c:pt idx="1">
                  <c:v>4.5842946635036913E-4</c:v>
                </c:pt>
                <c:pt idx="2">
                  <c:v>2.9420115525947395E-3</c:v>
                </c:pt>
                <c:pt idx="3">
                  <c:v>4.8557240503559581E-4</c:v>
                </c:pt>
                <c:pt idx="4">
                  <c:v>4.1853443964658259E-6</c:v>
                </c:pt>
                <c:pt idx="5">
                  <c:v>5.6635693946065908E-6</c:v>
                </c:pt>
                <c:pt idx="6">
                  <c:v>3.4981580133801101E-5</c:v>
                </c:pt>
                <c:pt idx="7">
                  <c:v>1.464835021583843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497938318316473E-2</c:v>
                </c:pt>
                <c:pt idx="1">
                  <c:v>1.2141994514293535E-2</c:v>
                </c:pt>
                <c:pt idx="2">
                  <c:v>2.121371002470003E-2</c:v>
                </c:pt>
                <c:pt idx="3">
                  <c:v>3.5349502593093274E-2</c:v>
                </c:pt>
                <c:pt idx="4">
                  <c:v>4.2726280774432628E-2</c:v>
                </c:pt>
                <c:pt idx="5">
                  <c:v>5.308044917056394E-2</c:v>
                </c:pt>
                <c:pt idx="6">
                  <c:v>7.4333081051257785E-2</c:v>
                </c:pt>
                <c:pt idx="7">
                  <c:v>8.8008850142298339E-2</c:v>
                </c:pt>
                <c:pt idx="8">
                  <c:v>7.0959356764847548E-2</c:v>
                </c:pt>
                <c:pt idx="9">
                  <c:v>1.6149409208484355E-2</c:v>
                </c:pt>
                <c:pt idx="10">
                  <c:v>5.368170173858474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0999999999999999E-3</c:v>
                </c:pt>
                <c:pt idx="5">
                  <c:v>7.0499999999999993E-2</c:v>
                </c:pt>
                <c:pt idx="6">
                  <c:v>9.3600000000000003E-2</c:v>
                </c:pt>
                <c:pt idx="7">
                  <c:v>0.1943</c:v>
                </c:pt>
                <c:pt idx="8">
                  <c:v>0.5736</c:v>
                </c:pt>
                <c:pt idx="9">
                  <c:v>5.9299999999999999E-2</c:v>
                </c:pt>
                <c:pt idx="10">
                  <c:v>6.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79716802825232E-2</c:v>
                </c:pt>
                <c:pt idx="1">
                  <c:v>1.6257884832080134E-2</c:v>
                </c:pt>
                <c:pt idx="2">
                  <c:v>2.1276504885351145E-2</c:v>
                </c:pt>
                <c:pt idx="3">
                  <c:v>3.9468468948909249E-2</c:v>
                </c:pt>
                <c:pt idx="4">
                  <c:v>5.1557744079106287E-2</c:v>
                </c:pt>
                <c:pt idx="5">
                  <c:v>0.10236317325345326</c:v>
                </c:pt>
                <c:pt idx="6">
                  <c:v>0.13074660672941371</c:v>
                </c:pt>
                <c:pt idx="7">
                  <c:v>0.17793801242919713</c:v>
                </c:pt>
                <c:pt idx="8">
                  <c:v>0.25642052623088829</c:v>
                </c:pt>
                <c:pt idx="9">
                  <c:v>0.10337145839958195</c:v>
                </c:pt>
                <c:pt idx="10">
                  <c:v>8.18024521837664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1395317086166374E-6</c:v>
                </c:pt>
                <c:pt idx="3">
                  <c:v>0.14600202847197744</c:v>
                </c:pt>
                <c:pt idx="4">
                  <c:v>0.35104206069768468</c:v>
                </c:pt>
                <c:pt idx="5">
                  <c:v>3.7264808670548297E-3</c:v>
                </c:pt>
                <c:pt idx="6">
                  <c:v>1.0554322766861421E-3</c:v>
                </c:pt>
                <c:pt idx="7">
                  <c:v>2.1482204450172616E-2</c:v>
                </c:pt>
                <c:pt idx="8">
                  <c:v>7.4165109735870052E-2</c:v>
                </c:pt>
                <c:pt idx="9">
                  <c:v>6.312923916629635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7675014475093403E-4</c:v>
                </c:pt>
                <c:pt idx="4">
                  <c:v>1.6905911833532806E-6</c:v>
                </c:pt>
                <c:pt idx="5">
                  <c:v>2.1512297923006631E-6</c:v>
                </c:pt>
                <c:pt idx="6">
                  <c:v>1.2273597014112044E-3</c:v>
                </c:pt>
                <c:pt idx="7">
                  <c:v>3.1594442371438792E-3</c:v>
                </c:pt>
                <c:pt idx="8">
                  <c:v>0.140384607119787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4381561206346031E-2</c:v>
                </c:pt>
                <c:pt idx="6">
                  <c:v>2.791883120313699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166596838760695E-2</c:v>
                </c:pt>
                <c:pt idx="1">
                  <c:v>6.5561221067472991E-4</c:v>
                </c:pt>
                <c:pt idx="2">
                  <c:v>1.4661224640983848E-3</c:v>
                </c:pt>
                <c:pt idx="3">
                  <c:v>2.6027980946182572E-3</c:v>
                </c:pt>
                <c:pt idx="4">
                  <c:v>3.8763878667315522E-3</c:v>
                </c:pt>
                <c:pt idx="5">
                  <c:v>4.2398222314877594E-3</c:v>
                </c:pt>
                <c:pt idx="6">
                  <c:v>1.9716576662077295E-2</c:v>
                </c:pt>
                <c:pt idx="7">
                  <c:v>0.10348247774658442</c:v>
                </c:pt>
                <c:pt idx="8">
                  <c:v>6.4771154620353651E-3</c:v>
                </c:pt>
                <c:pt idx="9">
                  <c:v>1.126061947107527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8597326146248311E-5</c:v>
                </c:pt>
                <c:pt idx="5">
                  <c:v>1.2992137567346953E-3</c:v>
                </c:pt>
                <c:pt idx="6">
                  <c:v>1.7253640500615628E-3</c:v>
                </c:pt>
                <c:pt idx="7">
                  <c:v>3.5809001329535541E-3</c:v>
                </c:pt>
                <c:pt idx="8">
                  <c:v>1.0568384492545829E-2</c:v>
                </c:pt>
                <c:pt idx="9">
                  <c:v>1.092315124218984E-3</c:v>
                </c:pt>
                <c:pt idx="10">
                  <c:v>1.206960520247760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523545075084427E-4</c:v>
                </c:pt>
                <c:pt idx="1">
                  <c:v>1.578958005786226E-3</c:v>
                </c:pt>
                <c:pt idx="2">
                  <c:v>3.8071024989245095E-3</c:v>
                </c:pt>
                <c:pt idx="3">
                  <c:v>5.687030950766927E-3</c:v>
                </c:pt>
                <c:pt idx="4">
                  <c:v>1.2586465533324534E-2</c:v>
                </c:pt>
                <c:pt idx="5">
                  <c:v>1.7584906592511305E-2</c:v>
                </c:pt>
                <c:pt idx="6">
                  <c:v>3.4019694352538828E-2</c:v>
                </c:pt>
                <c:pt idx="7">
                  <c:v>5.9863392579592355E-2</c:v>
                </c:pt>
                <c:pt idx="8">
                  <c:v>0.11957022392825001</c:v>
                </c:pt>
                <c:pt idx="9">
                  <c:v>7.3507803933626381E-2</c:v>
                </c:pt>
                <c:pt idx="10">
                  <c:v>6.819024113644636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080283757810302E-5</c:v>
                </c:pt>
                <c:pt idx="1">
                  <c:v>1.7327253434978873E-4</c:v>
                </c:pt>
                <c:pt idx="2">
                  <c:v>4.4456659723603138E-4</c:v>
                </c:pt>
                <c:pt idx="3">
                  <c:v>3.6217221174235457E-4</c:v>
                </c:pt>
                <c:pt idx="4">
                  <c:v>6.7714998276686414E-4</c:v>
                </c:pt>
                <c:pt idx="5">
                  <c:v>2.4506270014360187E-2</c:v>
                </c:pt>
                <c:pt idx="6">
                  <c:v>1.0857734298834956E-2</c:v>
                </c:pt>
                <c:pt idx="7">
                  <c:v>3.7320795476313961E-3</c:v>
                </c:pt>
                <c:pt idx="8">
                  <c:v>1.5009137828008088E-3</c:v>
                </c:pt>
                <c:pt idx="10">
                  <c:v>1.0275523728326807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6.5206691509659632E-5</c:v>
                </c:pt>
                <c:pt idx="2">
                  <c:v>1.4598441383330667E-4</c:v>
                </c:pt>
                <c:pt idx="3">
                  <c:v>4.7323566449156308E-8</c:v>
                </c:pt>
                <c:pt idx="4">
                  <c:v>5.9696110082003446E-3</c:v>
                </c:pt>
                <c:pt idx="5">
                  <c:v>5.7103770181981945E-7</c:v>
                </c:pt>
                <c:pt idx="6">
                  <c:v>1.4168770667360614E-2</c:v>
                </c:pt>
                <c:pt idx="7">
                  <c:v>4.1139250673479311E-3</c:v>
                </c:pt>
                <c:pt idx="8">
                  <c:v>2.0772322988656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281645602234005E-2</c:v>
                </c:pt>
                <c:pt idx="1">
                  <c:v>1.4505654291944121E-2</c:v>
                </c:pt>
                <c:pt idx="2">
                  <c:v>1.6878851375357298E-2</c:v>
                </c:pt>
                <c:pt idx="3">
                  <c:v>3.3419218462833522E-2</c:v>
                </c:pt>
                <c:pt idx="4">
                  <c:v>3.2285920228668302E-2</c:v>
                </c:pt>
                <c:pt idx="5">
                  <c:v>5.8972211852145254E-2</c:v>
                </c:pt>
                <c:pt idx="6">
                  <c:v>6.9975043360617759E-2</c:v>
                </c:pt>
                <c:pt idx="7">
                  <c:v>0.10664771510167192</c:v>
                </c:pt>
                <c:pt idx="8">
                  <c:v>0.10400868103863505</c:v>
                </c:pt>
                <c:pt idx="9">
                  <c:v>2.8771339341736594E-2</c:v>
                </c:pt>
                <c:pt idx="10">
                  <c:v>1.348123947156702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E-3</c:v>
                </c:pt>
                <c:pt idx="5">
                  <c:v>3.1899999999999998E-2</c:v>
                </c:pt>
                <c:pt idx="6">
                  <c:v>0.1206</c:v>
                </c:pt>
                <c:pt idx="7">
                  <c:v>0.35149999999999998</c:v>
                </c:pt>
                <c:pt idx="8">
                  <c:v>0.4209</c:v>
                </c:pt>
                <c:pt idx="9">
                  <c:v>6.5299999999999997E-2</c:v>
                </c:pt>
                <c:pt idx="10">
                  <c:v>7.799999999999999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86739615292647E-2</c:v>
                </c:pt>
                <c:pt idx="1">
                  <c:v>2.2440013185811045E-2</c:v>
                </c:pt>
                <c:pt idx="2">
                  <c:v>2.5308299426034547E-2</c:v>
                </c:pt>
                <c:pt idx="3">
                  <c:v>5.3762350004310379E-2</c:v>
                </c:pt>
                <c:pt idx="4">
                  <c:v>6.0479768899024261E-2</c:v>
                </c:pt>
                <c:pt idx="5">
                  <c:v>0.11906086687087766</c:v>
                </c:pt>
                <c:pt idx="6">
                  <c:v>0.13389055283916435</c:v>
                </c:pt>
                <c:pt idx="7">
                  <c:v>0.18936383046379757</c:v>
                </c:pt>
                <c:pt idx="8">
                  <c:v>0.20795372780999538</c:v>
                </c:pt>
                <c:pt idx="9">
                  <c:v>0.13703616353638809</c:v>
                </c:pt>
                <c:pt idx="10">
                  <c:v>2.6717687349304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4.171911535281731E-5</c:v>
                </c:pt>
                <c:pt idx="5">
                  <c:v>6.502139779190402E-4</c:v>
                </c:pt>
                <c:pt idx="6">
                  <c:v>2.4618690465788855E-3</c:v>
                </c:pt>
                <c:pt idx="7">
                  <c:v>7.1745509500708649E-3</c:v>
                </c:pt>
                <c:pt idx="8">
                  <c:v>8.5914969433410551E-3</c:v>
                </c:pt>
                <c:pt idx="9">
                  <c:v>1.333507762564556E-3</c:v>
                </c:pt>
                <c:pt idx="10">
                  <c:v>1.596549534337289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391047572087941E-3</c:v>
                </c:pt>
                <c:pt idx="1">
                  <c:v>2.1760974128159269E-3</c:v>
                </c:pt>
                <c:pt idx="2">
                  <c:v>4.6734883283602981E-3</c:v>
                </c:pt>
                <c:pt idx="3">
                  <c:v>7.4046321693773025E-3</c:v>
                </c:pt>
                <c:pt idx="4">
                  <c:v>1.024889265131663E-2</c:v>
                </c:pt>
                <c:pt idx="5">
                  <c:v>3.3528355125194316E-2</c:v>
                </c:pt>
                <c:pt idx="6">
                  <c:v>3.4686229188508416E-2</c:v>
                </c:pt>
                <c:pt idx="7">
                  <c:v>5.1855161672868022E-2</c:v>
                </c:pt>
                <c:pt idx="8">
                  <c:v>8.3091045777973854E-2</c:v>
                </c:pt>
                <c:pt idx="9">
                  <c:v>0.10231532411148089</c:v>
                </c:pt>
                <c:pt idx="10">
                  <c:v>1.74888863642320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4.3726562065839961E-8</c:v>
                </c:pt>
                <c:pt idx="1">
                  <c:v>2.3666272942101448E-4</c:v>
                </c:pt>
                <c:pt idx="2">
                  <c:v>1.1425048392716256E-3</c:v>
                </c:pt>
                <c:pt idx="3">
                  <c:v>5.9962499570353405E-4</c:v>
                </c:pt>
                <c:pt idx="4">
                  <c:v>5.4016415905433594E-3</c:v>
                </c:pt>
                <c:pt idx="5">
                  <c:v>2.2037382977450795E-2</c:v>
                </c:pt>
                <c:pt idx="6">
                  <c:v>8.5982374591358716E-3</c:v>
                </c:pt>
                <c:pt idx="7">
                  <c:v>3.8348711700202424E-3</c:v>
                </c:pt>
                <c:pt idx="8">
                  <c:v>1.2438550598562307E-3</c:v>
                </c:pt>
                <c:pt idx="9">
                  <c:v>6.6649880967022722E-7</c:v>
                </c:pt>
                <c:pt idx="10">
                  <c:v>8.0390621834379105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7415229367946326E-6</c:v>
                </c:pt>
                <c:pt idx="1">
                  <c:v>6.426479576343146E-7</c:v>
                </c:pt>
                <c:pt idx="2">
                  <c:v>4.4561341887096903E-6</c:v>
                </c:pt>
                <c:pt idx="3">
                  <c:v>1.687721138806102E-2</c:v>
                </c:pt>
                <c:pt idx="4">
                  <c:v>4.1377809660183397E-3</c:v>
                </c:pt>
                <c:pt idx="5">
                  <c:v>5.7693051247716251E-3</c:v>
                </c:pt>
                <c:pt idx="6">
                  <c:v>2.8979991016709087E-3</c:v>
                </c:pt>
                <c:pt idx="7">
                  <c:v>6.704058442431768E-3</c:v>
                </c:pt>
                <c:pt idx="8">
                  <c:v>2.0856655822744283E-3</c:v>
                </c:pt>
                <c:pt idx="9">
                  <c:v>1.8707747056201961E-3</c:v>
                </c:pt>
                <c:pt idx="10">
                  <c:v>2.1420715222920265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444849608584994E-2</c:v>
                </c:pt>
                <c:pt idx="1">
                  <c:v>2.0026610395616467E-2</c:v>
                </c:pt>
                <c:pt idx="2">
                  <c:v>1.9487850124213914E-2</c:v>
                </c:pt>
                <c:pt idx="3">
                  <c:v>2.888088145116852E-2</c:v>
                </c:pt>
                <c:pt idx="4">
                  <c:v>4.0649734575793114E-2</c:v>
                </c:pt>
                <c:pt idx="5">
                  <c:v>5.7075609665541885E-2</c:v>
                </c:pt>
                <c:pt idx="6">
                  <c:v>8.5246218043270275E-2</c:v>
                </c:pt>
                <c:pt idx="7">
                  <c:v>0.11979518822840668</c:v>
                </c:pt>
                <c:pt idx="8">
                  <c:v>0.11294166444654986</c:v>
                </c:pt>
                <c:pt idx="9">
                  <c:v>3.1515890457912775E-2</c:v>
                </c:pt>
                <c:pt idx="10">
                  <c:v>9.039686254231902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1000000000000001E-3</c:v>
                </c:pt>
                <c:pt idx="5">
                  <c:v>0.114</c:v>
                </c:pt>
                <c:pt idx="6">
                  <c:v>0.109</c:v>
                </c:pt>
                <c:pt idx="7">
                  <c:v>0.1067</c:v>
                </c:pt>
                <c:pt idx="8">
                  <c:v>0.59550000000000003</c:v>
                </c:pt>
                <c:pt idx="9">
                  <c:v>6.8500000000000005E-2</c:v>
                </c:pt>
                <c:pt idx="10">
                  <c:v>5.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582354452281674E-2</c:v>
                </c:pt>
                <c:pt idx="1">
                  <c:v>1.0631957095508139E-2</c:v>
                </c:pt>
                <c:pt idx="2">
                  <c:v>1.7221234411258928E-2</c:v>
                </c:pt>
                <c:pt idx="3">
                  <c:v>6.6807752221266531E-2</c:v>
                </c:pt>
                <c:pt idx="4">
                  <c:v>4.9250627776390617E-2</c:v>
                </c:pt>
                <c:pt idx="5">
                  <c:v>0.11852846252856482</c:v>
                </c:pt>
                <c:pt idx="6">
                  <c:v>0.13127207598354879</c:v>
                </c:pt>
                <c:pt idx="7">
                  <c:v>0.18044499841671938</c:v>
                </c:pt>
                <c:pt idx="8">
                  <c:v>0.23112965900723814</c:v>
                </c:pt>
                <c:pt idx="9">
                  <c:v>0.10923037007143091</c:v>
                </c:pt>
                <c:pt idx="10">
                  <c:v>6.89005080357921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0870250118648524E-5</c:v>
                </c:pt>
                <c:pt idx="5">
                  <c:v>3.1450304334989998E-3</c:v>
                </c:pt>
                <c:pt idx="6">
                  <c:v>3.0075690687200933E-3</c:v>
                </c:pt>
                <c:pt idx="7">
                  <c:v>2.9420969806073132E-3</c:v>
                </c:pt>
                <c:pt idx="8">
                  <c:v>1.6424903435520586E-2</c:v>
                </c:pt>
                <c:pt idx="9">
                  <c:v>1.8905187618033612E-3</c:v>
                </c:pt>
                <c:pt idx="10">
                  <c:v>1.389745952223321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318278453820506E-5</c:v>
                </c:pt>
                <c:pt idx="1">
                  <c:v>2.1409505460530452E-4</c:v>
                </c:pt>
                <c:pt idx="2">
                  <c:v>2.8604767863093269E-3</c:v>
                </c:pt>
                <c:pt idx="3">
                  <c:v>2.0025337691118191E-2</c:v>
                </c:pt>
                <c:pt idx="4">
                  <c:v>8.8750651341420409E-3</c:v>
                </c:pt>
                <c:pt idx="5">
                  <c:v>1.5459361181512737E-2</c:v>
                </c:pt>
                <c:pt idx="6">
                  <c:v>2.5186635114514536E-2</c:v>
                </c:pt>
                <c:pt idx="7">
                  <c:v>5.4101569839050387E-2</c:v>
                </c:pt>
                <c:pt idx="8">
                  <c:v>7.1492076616312988E-2</c:v>
                </c:pt>
                <c:pt idx="9">
                  <c:v>7.5591646530215037E-2</c:v>
                </c:pt>
                <c:pt idx="10">
                  <c:v>5.76395933746987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9588590796085977E-7</c:v>
                </c:pt>
                <c:pt idx="1">
                  <c:v>1.3673180269660911E-5</c:v>
                </c:pt>
                <c:pt idx="2">
                  <c:v>8.0928855683636729E-4</c:v>
                </c:pt>
                <c:pt idx="3">
                  <c:v>9.2952492594495432E-4</c:v>
                </c:pt>
                <c:pt idx="4">
                  <c:v>4.3844342358540485E-3</c:v>
                </c:pt>
                <c:pt idx="5">
                  <c:v>2.6385172968077925E-2</c:v>
                </c:pt>
                <c:pt idx="6">
                  <c:v>1.0821758430918472E-2</c:v>
                </c:pt>
                <c:pt idx="7">
                  <c:v>7.2991359857347083E-3</c:v>
                </c:pt>
                <c:pt idx="8">
                  <c:v>6.8675005283172692E-4</c:v>
                </c:pt>
                <c:pt idx="9">
                  <c:v>2.8065450438619794E-6</c:v>
                </c:pt>
                <c:pt idx="10">
                  <c:v>1.5882810882552246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3.6123271647573525E-4</c:v>
                </c:pt>
                <c:pt idx="4">
                  <c:v>7.291419732227921E-3</c:v>
                </c:pt>
                <c:pt idx="5">
                  <c:v>2.5193105178244384E-4</c:v>
                </c:pt>
                <c:pt idx="6">
                  <c:v>2.1444850823517547E-2</c:v>
                </c:pt>
                <c:pt idx="7">
                  <c:v>4.4847926562657792E-3</c:v>
                </c:pt>
                <c:pt idx="8">
                  <c:v>2.396738677370582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537240287919894E-2</c:v>
                </c:pt>
                <c:pt idx="1">
                  <c:v>1.0404188860633174E-2</c:v>
                </c:pt>
                <c:pt idx="2">
                  <c:v>1.355146906811323E-2</c:v>
                </c:pt>
                <c:pt idx="3">
                  <c:v>4.549165688772764E-2</c:v>
                </c:pt>
                <c:pt idx="4">
                  <c:v>2.8668838424047952E-2</c:v>
                </c:pt>
                <c:pt idx="5">
                  <c:v>7.3286966893692712E-2</c:v>
                </c:pt>
                <c:pt idx="6">
                  <c:v>7.0811262545878134E-2</c:v>
                </c:pt>
                <c:pt idx="7">
                  <c:v>0.1116174029550612</c:v>
                </c:pt>
                <c:pt idx="8">
                  <c:v>0.118558542128867</c:v>
                </c:pt>
                <c:pt idx="9">
                  <c:v>3.1745398234368651E-2</c:v>
                </c:pt>
                <c:pt idx="10">
                  <c:v>1.11217812377622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6799999999999997</c:v>
                </c:pt>
                <c:pt idx="6">
                  <c:v>3.20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166596838760698E-2</c:v>
                </c:pt>
                <c:pt idx="1">
                  <c:v>6.5561221067472991E-4</c:v>
                </c:pt>
                <c:pt idx="2">
                  <c:v>1.8510121405579355E-3</c:v>
                </c:pt>
                <c:pt idx="3">
                  <c:v>0.14860482656659568</c:v>
                </c:pt>
                <c:pt idx="4">
                  <c:v>0.35492013915559961</c:v>
                </c:pt>
                <c:pt idx="5">
                  <c:v>9.2350015534680946E-2</c:v>
                </c:pt>
                <c:pt idx="6">
                  <c:v>2.4791251760488339E-2</c:v>
                </c:pt>
                <c:pt idx="7">
                  <c:v>0.12812412643390092</c:v>
                </c:pt>
                <c:pt idx="8">
                  <c:v>0.22102683231769249</c:v>
                </c:pt>
                <c:pt idx="9">
                  <c:v>7.438985863737163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8.4381561206346031E-2</c:v>
                </c:pt>
                <c:pt idx="6">
                  <c:v>2.791883120313699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1395317086166374E-6</c:v>
                </c:pt>
                <c:pt idx="3">
                  <c:v>0.14600202847197744</c:v>
                </c:pt>
                <c:pt idx="4">
                  <c:v>0.35104206069768468</c:v>
                </c:pt>
                <c:pt idx="5">
                  <c:v>3.7264808670548297E-3</c:v>
                </c:pt>
                <c:pt idx="6">
                  <c:v>1.0554322766861421E-3</c:v>
                </c:pt>
                <c:pt idx="7">
                  <c:v>2.1482204450172616E-2</c:v>
                </c:pt>
                <c:pt idx="8">
                  <c:v>7.4165109735870052E-2</c:v>
                </c:pt>
                <c:pt idx="9">
                  <c:v>6.312923916629635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7675014475093403E-4</c:v>
                </c:pt>
                <c:pt idx="4">
                  <c:v>1.6905911833532806E-6</c:v>
                </c:pt>
                <c:pt idx="5">
                  <c:v>2.1512297923006631E-6</c:v>
                </c:pt>
                <c:pt idx="6">
                  <c:v>1.2273597014112044E-3</c:v>
                </c:pt>
                <c:pt idx="7">
                  <c:v>3.1594442371438792E-3</c:v>
                </c:pt>
                <c:pt idx="8">
                  <c:v>0.140384607119787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4.841222976511348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166596838760695E-2</c:v>
                </c:pt>
                <c:pt idx="1">
                  <c:v>6.5561221067472991E-4</c:v>
                </c:pt>
                <c:pt idx="2">
                  <c:v>1.4661224640983848E-3</c:v>
                </c:pt>
                <c:pt idx="3">
                  <c:v>2.6027980946182572E-3</c:v>
                </c:pt>
                <c:pt idx="4">
                  <c:v>3.8763878667315522E-3</c:v>
                </c:pt>
                <c:pt idx="5">
                  <c:v>4.2398222314877594E-3</c:v>
                </c:pt>
                <c:pt idx="6">
                  <c:v>1.9716576662077295E-2</c:v>
                </c:pt>
                <c:pt idx="7">
                  <c:v>5.5070247981470928E-2</c:v>
                </c:pt>
                <c:pt idx="8">
                  <c:v>6.4771154620353651E-3</c:v>
                </c:pt>
                <c:pt idx="9">
                  <c:v>1.126061947107527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7799999999999998E-2</c:v>
                </c:pt>
                <c:pt idx="5">
                  <c:v>0.67110000000000003</c:v>
                </c:pt>
                <c:pt idx="6">
                  <c:v>0.3010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52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6462490913729043E-3</c:v>
                </c:pt>
                <c:pt idx="5">
                  <c:v>6.3878383003740671E-2</c:v>
                </c:pt>
                <c:pt idx="6">
                  <c:v>2.866358095839938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6306696888571608E-4</c:v>
                </c:pt>
                <c:pt idx="1">
                  <c:v>1.1067148522188636E-3</c:v>
                </c:pt>
                <c:pt idx="2">
                  <c:v>3.1917241394296705E-2</c:v>
                </c:pt>
                <c:pt idx="3">
                  <c:v>0.13974770750722393</c:v>
                </c:pt>
                <c:pt idx="4">
                  <c:v>0.31695016280460753</c:v>
                </c:pt>
                <c:pt idx="5">
                  <c:v>1.0432005279822222E-2</c:v>
                </c:pt>
                <c:pt idx="6">
                  <c:v>4.9663120821023532E-3</c:v>
                </c:pt>
                <c:pt idx="7">
                  <c:v>3.5720986788880867E-2</c:v>
                </c:pt>
                <c:pt idx="8">
                  <c:v>6.5527654846109049E-2</c:v>
                </c:pt>
                <c:pt idx="9">
                  <c:v>4.364436769423264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0194853834143125E-7</c:v>
                </c:pt>
                <c:pt idx="6">
                  <c:v>2.8578858975719765E-3</c:v>
                </c:pt>
                <c:pt idx="7">
                  <c:v>3.9156353241981738E-2</c:v>
                </c:pt>
                <c:pt idx="8">
                  <c:v>0.105837080739687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5.48678961813978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466777302797171E-2</c:v>
                </c:pt>
                <c:pt idx="1">
                  <c:v>1.5234435297718351E-4</c:v>
                </c:pt>
                <c:pt idx="2">
                  <c:v>8.143140674165023E-4</c:v>
                </c:pt>
                <c:pt idx="3">
                  <c:v>1.7742723371188839E-3</c:v>
                </c:pt>
                <c:pt idx="4">
                  <c:v>4.7086020389101807E-3</c:v>
                </c:pt>
                <c:pt idx="5">
                  <c:v>5.6849614496870295E-3</c:v>
                </c:pt>
                <c:pt idx="6">
                  <c:v>5.0899673728530643E-3</c:v>
                </c:pt>
                <c:pt idx="7">
                  <c:v>3.6411464480392841E-2</c:v>
                </c:pt>
                <c:pt idx="8">
                  <c:v>6.1730118085370107E-3</c:v>
                </c:pt>
                <c:pt idx="9">
                  <c:v>4.92693899580055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8659</c:v>
                </c:pt>
                <c:pt idx="6">
                  <c:v>0.134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100304976349817E-3</c:v>
                </c:pt>
                <c:pt idx="3">
                  <c:v>0.26868346656608316</c:v>
                </c:pt>
                <c:pt idx="4">
                  <c:v>0.24448648886529212</c:v>
                </c:pt>
                <c:pt idx="5">
                  <c:v>9.7113091973844726E-2</c:v>
                </c:pt>
                <c:pt idx="6">
                  <c:v>2.9823957368037789E-2</c:v>
                </c:pt>
                <c:pt idx="7">
                  <c:v>0.16451004332234603</c:v>
                </c:pt>
                <c:pt idx="8">
                  <c:v>0.192309086341882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9.7105355184962494E-2</c:v>
                </c:pt>
                <c:pt idx="6">
                  <c:v>1.503520343847026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0069095556790994E-3</c:v>
                </c:pt>
                <c:pt idx="3">
                  <c:v>0.268558340397415</c:v>
                </c:pt>
                <c:pt idx="4">
                  <c:v>0.24395928571237493</c:v>
                </c:pt>
                <c:pt idx="5">
                  <c:v>2.5701874930795078E-6</c:v>
                </c:pt>
                <c:pt idx="6">
                  <c:v>6.3821951677642676E-4</c:v>
                </c:pt>
                <c:pt idx="7">
                  <c:v>2.994716900928766E-2</c:v>
                </c:pt>
                <c:pt idx="8">
                  <c:v>6.42050145197234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57805541397669E-5</c:v>
                </c:pt>
                <c:pt idx="6">
                  <c:v>8.9475570026935035E-3</c:v>
                </c:pt>
                <c:pt idx="7">
                  <c:v>6.4443255164490162E-3</c:v>
                </c:pt>
                <c:pt idx="8">
                  <c:v>0.10864830325400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4.0920007530124824E-3</c:v>
                </c:pt>
                <c:pt idx="7">
                  <c:v>6.589402109872158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3.1209419558822597E-6</c:v>
                </c:pt>
                <c:pt idx="3">
                  <c:v>1.2512616866818706E-4</c:v>
                </c:pt>
                <c:pt idx="4">
                  <c:v>5.0142259877741953E-4</c:v>
                </c:pt>
                <c:pt idx="5">
                  <c:v>5.1666013891496229E-6</c:v>
                </c:pt>
                <c:pt idx="6">
                  <c:v>1.1109766570851127E-3</c:v>
                </c:pt>
                <c:pt idx="7">
                  <c:v>6.2224527697887784E-2</c:v>
                </c:pt>
                <c:pt idx="8">
                  <c:v>1.945576856814907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98280000000000001</c:v>
                </c:pt>
                <c:pt idx="8">
                  <c:v>1.7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681801079956994E-3</c:v>
                </c:pt>
                <c:pt idx="2">
                  <c:v>2.9228958218770959E-2</c:v>
                </c:pt>
                <c:pt idx="3">
                  <c:v>3.1519021903612604E-3</c:v>
                </c:pt>
                <c:pt idx="4">
                  <c:v>1.5768353612406562E-2</c:v>
                </c:pt>
                <c:pt idx="5">
                  <c:v>1.4096812643019339E-2</c:v>
                </c:pt>
                <c:pt idx="6">
                  <c:v>3.4586590784087837E-2</c:v>
                </c:pt>
                <c:pt idx="7">
                  <c:v>0.16463381743762401</c:v>
                </c:pt>
                <c:pt idx="8">
                  <c:v>0.2164237616324487</c:v>
                </c:pt>
                <c:pt idx="9">
                  <c:v>0.21428098529602463</c:v>
                </c:pt>
                <c:pt idx="10">
                  <c:v>0.3035696722641849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4942771726830701E-7</c:v>
                </c:pt>
                <c:pt idx="6">
                  <c:v>6.2041247759883087E-7</c:v>
                </c:pt>
                <c:pt idx="7">
                  <c:v>1.8170234166774064E-2</c:v>
                </c:pt>
                <c:pt idx="8">
                  <c:v>3.178936485793181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625455076117907E-6</c:v>
                </c:pt>
                <c:pt idx="4">
                  <c:v>1.09107021922553E-6</c:v>
                </c:pt>
                <c:pt idx="6">
                  <c:v>1.656315904563389E-3</c:v>
                </c:pt>
                <c:pt idx="7">
                  <c:v>2.7966411695679438E-3</c:v>
                </c:pt>
                <c:pt idx="8">
                  <c:v>0.20854387422975434</c:v>
                </c:pt>
                <c:pt idx="9">
                  <c:v>3.6684155452604165E-2</c:v>
                </c:pt>
                <c:pt idx="10">
                  <c:v>0.301188778766387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045150282728384E-6</c:v>
                </c:pt>
                <c:pt idx="2">
                  <c:v>4.421330300129599E-7</c:v>
                </c:pt>
                <c:pt idx="6">
                  <c:v>2.8195351031091307E-2</c:v>
                </c:pt>
                <c:pt idx="7">
                  <c:v>7.4512437088035413E-2</c:v>
                </c:pt>
                <c:pt idx="8">
                  <c:v>7.8442956937783206E-8</c:v>
                </c:pt>
                <c:pt idx="9">
                  <c:v>0.1412042682552877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195949308392695E-6</c:v>
                </c:pt>
                <c:pt idx="6">
                  <c:v>4.9095307393987487E-4</c:v>
                </c:pt>
                <c:pt idx="7">
                  <c:v>5.9047080093567903E-3</c:v>
                </c:pt>
                <c:pt idx="9">
                  <c:v>3.56887143290636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640440248117067E-3</c:v>
                </c:pt>
                <c:pt idx="2">
                  <c:v>2.9228516085740949E-2</c:v>
                </c:pt>
                <c:pt idx="3">
                  <c:v>3.1519021903612604E-3</c:v>
                </c:pt>
                <c:pt idx="4">
                  <c:v>1.5767262542187337E-2</c:v>
                </c:pt>
                <c:pt idx="5">
                  <c:v>1.4096812643019338E-2</c:v>
                </c:pt>
                <c:pt idx="6">
                  <c:v>4.2433503620156725E-3</c:v>
                </c:pt>
                <c:pt idx="7">
                  <c:v>6.3249797003889802E-2</c:v>
                </c:pt>
                <c:pt idx="8">
                  <c:v>7.5619153111581086E-3</c:v>
                </c:pt>
                <c:pt idx="9">
                  <c:v>7.0384725906901847E-4</c:v>
                </c:pt>
                <c:pt idx="10">
                  <c:v>2.380893497797692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2092</c:v>
                </c:pt>
                <c:pt idx="7">
                  <c:v>0.7906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5229844271682886E-2</c:v>
                </c:pt>
                <c:pt idx="1">
                  <c:v>1.2590592051960471E-3</c:v>
                </c:pt>
                <c:pt idx="2">
                  <c:v>3.2731555461713205E-2</c:v>
                </c:pt>
                <c:pt idx="3">
                  <c:v>0.14152197984434281</c:v>
                </c:pt>
                <c:pt idx="4">
                  <c:v>0.32430501393489058</c:v>
                </c:pt>
                <c:pt idx="5">
                  <c:v>7.9996151681788252E-2</c:v>
                </c:pt>
                <c:pt idx="6">
                  <c:v>9.6445642492324651E-2</c:v>
                </c:pt>
                <c:pt idx="7">
                  <c:v>0.11128880451125545</c:v>
                </c:pt>
                <c:pt idx="8">
                  <c:v>0.17753774739433337</c:v>
                </c:pt>
                <c:pt idx="9">
                  <c:v>9.2913757652238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8156097404007821E-6</c:v>
                </c:pt>
                <c:pt idx="6">
                  <c:v>4.5803649719760638E-3</c:v>
                </c:pt>
                <c:pt idx="7">
                  <c:v>1.73139312922269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7">
                  <c:v>2.7049562776030312E-2</c:v>
                </c:pt>
                <c:pt idx="8">
                  <c:v>4.2746587078764671E-2</c:v>
                </c:pt>
                <c:pt idx="9">
                  <c:v>0.27813644559724826</c:v>
                </c:pt>
                <c:pt idx="10">
                  <c:v>0.162882851097915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2928820236534203E-5</c:v>
                </c:pt>
                <c:pt idx="2">
                  <c:v>4.7118367084257985E-6</c:v>
                </c:pt>
                <c:pt idx="4">
                  <c:v>3.4187823005025577E-3</c:v>
                </c:pt>
                <c:pt idx="5">
                  <c:v>3.8619822582109498E-4</c:v>
                </c:pt>
                <c:pt idx="6">
                  <c:v>2.2537117206363508E-2</c:v>
                </c:pt>
                <c:pt idx="7">
                  <c:v>5.0549503590764343E-2</c:v>
                </c:pt>
                <c:pt idx="8">
                  <c:v>6.4183490413710756E-2</c:v>
                </c:pt>
                <c:pt idx="9">
                  <c:v>0.1155602086539201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5.3117914288242588E-3</c:v>
                </c:pt>
                <c:pt idx="8">
                  <c:v>1.1739368774773056E-4</c:v>
                </c:pt>
                <c:pt idx="9">
                  <c:v>9.026574759035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6.3913191878632279E-3</c:v>
                </c:pt>
                <c:pt idx="1">
                  <c:v>2.8111852108087237E-3</c:v>
                </c:pt>
                <c:pt idx="2">
                  <c:v>1.1729083180007101E-2</c:v>
                </c:pt>
                <c:pt idx="3">
                  <c:v>7.5748521230272056E-3</c:v>
                </c:pt>
                <c:pt idx="4">
                  <c:v>1.5590433362562044E-2</c:v>
                </c:pt>
                <c:pt idx="5">
                  <c:v>1.1300535885233449E-2</c:v>
                </c:pt>
                <c:pt idx="6">
                  <c:v>1.7164933821678816E-2</c:v>
                </c:pt>
                <c:pt idx="7">
                  <c:v>3.4588731355204683E-2</c:v>
                </c:pt>
                <c:pt idx="8">
                  <c:v>5.3309260827743296E-3</c:v>
                </c:pt>
                <c:pt idx="10">
                  <c:v>2.45756761198369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8030213217652804E-3</c:v>
                </c:pt>
                <c:pt idx="1">
                  <c:v>1.1362180091267829E-3</c:v>
                </c:pt>
                <c:pt idx="2">
                  <c:v>3.9025085112910272E-2</c:v>
                </c:pt>
                <c:pt idx="3">
                  <c:v>1.0743820448448566E-2</c:v>
                </c:pt>
                <c:pt idx="4">
                  <c:v>8.5138449354333519E-3</c:v>
                </c:pt>
                <c:pt idx="5">
                  <c:v>1.0761112831630315E-2</c:v>
                </c:pt>
                <c:pt idx="6">
                  <c:v>7.763991842218361E-2</c:v>
                </c:pt>
                <c:pt idx="7">
                  <c:v>0.17609201899160237</c:v>
                </c:pt>
                <c:pt idx="8">
                  <c:v>0.21875489647669405</c:v>
                </c:pt>
                <c:pt idx="9">
                  <c:v>0.24424792129717071</c:v>
                </c:pt>
                <c:pt idx="10">
                  <c:v>0.2072821421530346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2.0228635553065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3.0818108640738497E-6</c:v>
                </c:pt>
                <c:pt idx="8">
                  <c:v>0.20184913788195871</c:v>
                </c:pt>
                <c:pt idx="9">
                  <c:v>5.4465299965349601E-2</c:v>
                </c:pt>
                <c:pt idx="10">
                  <c:v>0.203346555538469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3551789018315117E-4</c:v>
                </c:pt>
                <c:pt idx="6">
                  <c:v>6.7900226144993317E-2</c:v>
                </c:pt>
                <c:pt idx="7">
                  <c:v>0.10057367053176161</c:v>
                </c:pt>
                <c:pt idx="8">
                  <c:v>1.9984972747803345E-3</c:v>
                </c:pt>
                <c:pt idx="9">
                  <c:v>0.1897773423039521</c:v>
                </c:pt>
                <c:pt idx="10">
                  <c:v>3.933475003417814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5350938786647117E-3</c:v>
                </c:pt>
                <c:pt idx="2">
                  <c:v>2.4527162467447301E-2</c:v>
                </c:pt>
                <c:pt idx="3">
                  <c:v>8.811268219102256E-3</c:v>
                </c:pt>
                <c:pt idx="4">
                  <c:v>4.7982939095056491E-3</c:v>
                </c:pt>
                <c:pt idx="5">
                  <c:v>3.2719414732157392E-3</c:v>
                </c:pt>
                <c:pt idx="6">
                  <c:v>7.4973039148614369E-3</c:v>
                </c:pt>
                <c:pt idx="7">
                  <c:v>1.525713245888472E-2</c:v>
                </c:pt>
                <c:pt idx="8">
                  <c:v>4.12643060585177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679274431005687E-3</c:v>
                </c:pt>
                <c:pt idx="1">
                  <c:v>1.1362180091267829E-3</c:v>
                </c:pt>
                <c:pt idx="2">
                  <c:v>1.4497922645462971E-2</c:v>
                </c:pt>
                <c:pt idx="3">
                  <c:v>1.9325522293463099E-3</c:v>
                </c:pt>
                <c:pt idx="4">
                  <c:v>3.7155510259277028E-3</c:v>
                </c:pt>
                <c:pt idx="5">
                  <c:v>7.1536534682314244E-3</c:v>
                </c:pt>
                <c:pt idx="6">
                  <c:v>2.2393065514647718E-3</c:v>
                </c:pt>
                <c:pt idx="7">
                  <c:v>4.0032580447890417E-2</c:v>
                </c:pt>
                <c:pt idx="8">
                  <c:v>1.0780830714103231E-2</c:v>
                </c:pt>
                <c:pt idx="9">
                  <c:v>5.2790278690153906E-6</c:v>
                </c:pt>
                <c:pt idx="10">
                  <c:v>2.111611147606156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8348675945187E-2</c:v>
                </c:pt>
                <c:pt idx="1">
                  <c:v>6.9038415366902443E-3</c:v>
                </c:pt>
                <c:pt idx="2">
                  <c:v>1.7361982186284391E-3</c:v>
                </c:pt>
                <c:pt idx="3">
                  <c:v>1.8755435712991535E-3</c:v>
                </c:pt>
                <c:pt idx="4">
                  <c:v>0.10477416679766324</c:v>
                </c:pt>
                <c:pt idx="5">
                  <c:v>5.0671865007636957E-3</c:v>
                </c:pt>
                <c:pt idx="6">
                  <c:v>2.6783593228682716E-2</c:v>
                </c:pt>
                <c:pt idx="7">
                  <c:v>6.6655607066131453E-2</c:v>
                </c:pt>
                <c:pt idx="8">
                  <c:v>4.4421204234486155E-3</c:v>
                </c:pt>
                <c:pt idx="10">
                  <c:v>2.58592693637560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4054053967207621E-7</c:v>
                </c:pt>
                <c:pt idx="3">
                  <c:v>8.2060798596221757E-2</c:v>
                </c:pt>
                <c:pt idx="4">
                  <c:v>1.3735802625934962E-2</c:v>
                </c:pt>
                <c:pt idx="5">
                  <c:v>6.1588706809217263E-2</c:v>
                </c:pt>
                <c:pt idx="6">
                  <c:v>2.3195070431785789E-2</c:v>
                </c:pt>
                <c:pt idx="7">
                  <c:v>5.9000565638160689E-2</c:v>
                </c:pt>
                <c:pt idx="8">
                  <c:v>2.4630784631086092E-2</c:v>
                </c:pt>
                <c:pt idx="9">
                  <c:v>3.3171045320672899E-5</c:v>
                </c:pt>
                <c:pt idx="10">
                  <c:v>5.698653359900480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236787063778384E-3</c:v>
                </c:pt>
                <c:pt idx="5">
                  <c:v>9.3823032982912943E-3</c:v>
                </c:pt>
                <c:pt idx="6">
                  <c:v>5.4704191349204496E-3</c:v>
                </c:pt>
                <c:pt idx="7">
                  <c:v>6.9353981666997425E-2</c:v>
                </c:pt>
                <c:pt idx="8">
                  <c:v>4.7075678262511508E-2</c:v>
                </c:pt>
                <c:pt idx="9">
                  <c:v>4.8835529456781143E-2</c:v>
                </c:pt>
                <c:pt idx="10">
                  <c:v>3.211667071787894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7470243266699317E-6</c:v>
                </c:pt>
                <c:pt idx="2">
                  <c:v>3.7256199349716392E-2</c:v>
                </c:pt>
                <c:pt idx="3">
                  <c:v>8.9494121078573987E-3</c:v>
                </c:pt>
                <c:pt idx="4">
                  <c:v>6.1802429394394939E-3</c:v>
                </c:pt>
                <c:pt idx="5">
                  <c:v>6.5360089564112323E-2</c:v>
                </c:pt>
                <c:pt idx="6">
                  <c:v>2.7827642738815061E-2</c:v>
                </c:pt>
                <c:pt idx="7">
                  <c:v>6.442734828327587E-2</c:v>
                </c:pt>
                <c:pt idx="8">
                  <c:v>9.1549739732225813E-2</c:v>
                </c:pt>
                <c:pt idx="9">
                  <c:v>1.94449509780722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6306696888571608E-4</c:v>
                </c:pt>
                <c:pt idx="1">
                  <c:v>1.1067148522188636E-3</c:v>
                </c:pt>
                <c:pt idx="2">
                  <c:v>3.1917241394296705E-2</c:v>
                </c:pt>
                <c:pt idx="3">
                  <c:v>0.13974770750722393</c:v>
                </c:pt>
                <c:pt idx="4">
                  <c:v>0.31695016280460753</c:v>
                </c:pt>
                <c:pt idx="5">
                  <c:v>1.0432005279822222E-2</c:v>
                </c:pt>
                <c:pt idx="6">
                  <c:v>4.9663120821023532E-3</c:v>
                </c:pt>
                <c:pt idx="7">
                  <c:v>3.5720986788880867E-2</c:v>
                </c:pt>
                <c:pt idx="8">
                  <c:v>6.5527654846109049E-2</c:v>
                </c:pt>
                <c:pt idx="9">
                  <c:v>4.364436769423264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0194853834143125E-7</c:v>
                </c:pt>
                <c:pt idx="6">
                  <c:v>2.8578858975719765E-3</c:v>
                </c:pt>
                <c:pt idx="7">
                  <c:v>3.9156353241981738E-2</c:v>
                </c:pt>
                <c:pt idx="8">
                  <c:v>0.105837080739687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6462490913729043E-3</c:v>
                </c:pt>
                <c:pt idx="5">
                  <c:v>6.3878383003740671E-2</c:v>
                </c:pt>
                <c:pt idx="6">
                  <c:v>2.86635809583993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466777302797171E-2</c:v>
                </c:pt>
                <c:pt idx="1">
                  <c:v>1.5234435297718351E-4</c:v>
                </c:pt>
                <c:pt idx="2">
                  <c:v>8.143140674165023E-4</c:v>
                </c:pt>
                <c:pt idx="3">
                  <c:v>1.7742723371188839E-3</c:v>
                </c:pt>
                <c:pt idx="4">
                  <c:v>4.7086020389101807E-3</c:v>
                </c:pt>
                <c:pt idx="5">
                  <c:v>5.6849614496870295E-3</c:v>
                </c:pt>
                <c:pt idx="6">
                  <c:v>5.9957863554250923E-2</c:v>
                </c:pt>
                <c:pt idx="7">
                  <c:v>3.6411464480392841E-2</c:v>
                </c:pt>
                <c:pt idx="8">
                  <c:v>6.1730118085370107E-3</c:v>
                </c:pt>
                <c:pt idx="9">
                  <c:v>4.92693899580055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856614831110494E-5</c:v>
                </c:pt>
                <c:pt idx="1">
                  <c:v>5.0857004490138715E-6</c:v>
                </c:pt>
                <c:pt idx="2">
                  <c:v>3.5264351773265254E-5</c:v>
                </c:pt>
                <c:pt idx="3">
                  <c:v>0.13356059179014013</c:v>
                </c:pt>
                <c:pt idx="4">
                  <c:v>3.2745011116607166E-2</c:v>
                </c:pt>
                <c:pt idx="5">
                  <c:v>4.5656346239016515E-2</c:v>
                </c:pt>
                <c:pt idx="6">
                  <c:v>2.2933793156152984E-2</c:v>
                </c:pt>
                <c:pt idx="7">
                  <c:v>5.3053670560782258E-2</c:v>
                </c:pt>
                <c:pt idx="8">
                  <c:v>1.6505258068993306E-2</c:v>
                </c:pt>
                <c:pt idx="9">
                  <c:v>1.4804683726685523E-2</c:v>
                </c:pt>
                <c:pt idx="10">
                  <c:v>1.695163576469242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591776466415062E-2</c:v>
                </c:pt>
                <c:pt idx="1">
                  <c:v>1.5611160472115745E-2</c:v>
                </c:pt>
                <c:pt idx="2">
                  <c:v>4.5091497937806138E-3</c:v>
                </c:pt>
                <c:pt idx="3">
                  <c:v>2.2503123458954121E-3</c:v>
                </c:pt>
                <c:pt idx="4">
                  <c:v>9.2942297705621374E-2</c:v>
                </c:pt>
                <c:pt idx="5">
                  <c:v>5.9604618982048718E-3</c:v>
                </c:pt>
                <c:pt idx="6">
                  <c:v>3.4556862681935428E-3</c:v>
                </c:pt>
                <c:pt idx="7">
                  <c:v>3.8628411545534092E-2</c:v>
                </c:pt>
                <c:pt idx="8">
                  <c:v>4.4743153671999457E-2</c:v>
                </c:pt>
                <c:pt idx="10">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9284107444051948E-7</c:v>
                </c:pt>
                <c:pt idx="1">
                  <c:v>1.3956839788943221E-5</c:v>
                </c:pt>
                <c:pt idx="2">
                  <c:v>3.0743646429186058E-2</c:v>
                </c:pt>
                <c:pt idx="3">
                  <c:v>3.564450001734381E-2</c:v>
                </c:pt>
                <c:pt idx="4">
                  <c:v>6.3327037131317649E-3</c:v>
                </c:pt>
                <c:pt idx="5">
                  <c:v>2.5358413952695731E-2</c:v>
                </c:pt>
                <c:pt idx="6">
                  <c:v>1.714739853104838E-2</c:v>
                </c:pt>
                <c:pt idx="7">
                  <c:v>5.4161420006419936E-2</c:v>
                </c:pt>
                <c:pt idx="8">
                  <c:v>5.3248888056162243E-2</c:v>
                </c:pt>
                <c:pt idx="9">
                  <c:v>3.4603735013908812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516635273738823E-7</c:v>
                </c:pt>
                <c:pt idx="2">
                  <c:v>6.9207470027817628E-6</c:v>
                </c:pt>
                <c:pt idx="3">
                  <c:v>8.2681954722627565E-5</c:v>
                </c:pt>
                <c:pt idx="4">
                  <c:v>1.5104635193374269E-3</c:v>
                </c:pt>
                <c:pt idx="5">
                  <c:v>5.2196315838901282E-2</c:v>
                </c:pt>
                <c:pt idx="6">
                  <c:v>2.8970435701289987E-2</c:v>
                </c:pt>
                <c:pt idx="7">
                  <c:v>6.525791505911345E-2</c:v>
                </c:pt>
                <c:pt idx="8">
                  <c:v>5.8855899016150806E-2</c:v>
                </c:pt>
                <c:pt idx="9">
                  <c:v>5.1355088554732855E-3</c:v>
                </c:pt>
                <c:pt idx="10">
                  <c:v>8.7139440091434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4747136481628206E-2</c:v>
                </c:pt>
                <c:pt idx="2">
                  <c:v>1.3625819773384115E-3</c:v>
                </c:pt>
                <c:pt idx="3">
                  <c:v>0.12608331685803781</c:v>
                </c:pt>
                <c:pt idx="4">
                  <c:v>1.1732619958943502E-2</c:v>
                </c:pt>
                <c:pt idx="5">
                  <c:v>6.2114905007134369E-3</c:v>
                </c:pt>
                <c:pt idx="6">
                  <c:v>2.029408133441467E-3</c:v>
                </c:pt>
                <c:pt idx="7">
                  <c:v>3.6855776457379794E-2</c:v>
                </c:pt>
                <c:pt idx="8">
                  <c:v>4.41249717430414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pt idx="9">
                  <c:v>1.325724218857694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569840425069714E-6</c:v>
                </c:pt>
                <c:pt idx="6">
                  <c:v>5.9329440289473069E-6</c:v>
                </c:pt>
                <c:pt idx="7">
                  <c:v>4.9444538616075701E-2</c:v>
                </c:pt>
                <c:pt idx="8">
                  <c:v>8.8206601492313936E-6</c:v>
                </c:pt>
                <c:pt idx="9">
                  <c:v>8.95984544103261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7.4718342014114258E-4</c:v>
                </c:pt>
                <c:pt idx="1">
                  <c:v>1.7339094554510329E-2</c:v>
                </c:pt>
                <c:pt idx="2">
                  <c:v>3.0917818303169083E-2</c:v>
                </c:pt>
                <c:pt idx="3">
                  <c:v>6.5629911824638341E-7</c:v>
                </c:pt>
                <c:pt idx="4">
                  <c:v>8.856979742435149E-3</c:v>
                </c:pt>
                <c:pt idx="5">
                  <c:v>8.0786614921243977E-2</c:v>
                </c:pt>
                <c:pt idx="6">
                  <c:v>3.3642667234269147E-2</c:v>
                </c:pt>
                <c:pt idx="7">
                  <c:v>4.5920501122704654E-2</c:v>
                </c:pt>
                <c:pt idx="8">
                  <c:v>9.31322182566295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5000000000000001E-3</c:v>
                </c:pt>
                <c:pt idx="5">
                  <c:v>8.2500000000000004E-2</c:v>
                </c:pt>
                <c:pt idx="6">
                  <c:v>0.1095</c:v>
                </c:pt>
                <c:pt idx="7">
                  <c:v>0.21879999999999999</c:v>
                </c:pt>
                <c:pt idx="8">
                  <c:v>0.50970000000000004</c:v>
                </c:pt>
                <c:pt idx="9">
                  <c:v>6.9400000000000003E-2</c:v>
                </c:pt>
                <c:pt idx="10">
                  <c:v>7.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638345262747E-2</c:v>
                </c:pt>
                <c:pt idx="2">
                  <c:v>2.317484993668747E-3</c:v>
                </c:pt>
                <c:pt idx="3">
                  <c:v>5.4889790522628559E-2</c:v>
                </c:pt>
                <c:pt idx="4">
                  <c:v>2.1417360193585859E-2</c:v>
                </c:pt>
                <c:pt idx="5">
                  <c:v>5.4955204292333013E-2</c:v>
                </c:pt>
                <c:pt idx="6">
                  <c:v>0.14927649358998393</c:v>
                </c:pt>
                <c:pt idx="7">
                  <c:v>0.13228898853114029</c:v>
                </c:pt>
                <c:pt idx="8">
                  <c:v>0.31299544147474445</c:v>
                </c:pt>
                <c:pt idx="9">
                  <c:v>0.14351406891192672</c:v>
                </c:pt>
                <c:pt idx="10">
                  <c:v>0.1132503095121440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5625255554798197E-4</c:v>
                </c:pt>
                <c:pt idx="5">
                  <c:v>8.6256453129647838E-3</c:v>
                </c:pt>
                <c:pt idx="6">
                  <c:v>1.1454911291099035E-2</c:v>
                </c:pt>
                <c:pt idx="7">
                  <c:v>2.2883483224079806E-2</c:v>
                </c:pt>
                <c:pt idx="8">
                  <c:v>5.3296031196739709E-2</c:v>
                </c:pt>
                <c:pt idx="9">
                  <c:v>7.2520189866062349E-3</c:v>
                </c:pt>
                <c:pt idx="10">
                  <c:v>8.013164346853945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6.758116748491954E-3</c:v>
                </c:pt>
                <c:pt idx="7">
                  <c:v>7.6793479547296914E-4</c:v>
                </c:pt>
                <c:pt idx="8">
                  <c:v>2.2935538054355796E-2</c:v>
                </c:pt>
                <c:pt idx="9">
                  <c:v>7.3022660437260606E-2</c:v>
                </c:pt>
                <c:pt idx="10">
                  <c:v>0.105464844091205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1985164985288267E-2</c:v>
                </c:pt>
                <c:pt idx="2">
                  <c:v>1.2722889935880576E-3</c:v>
                </c:pt>
                <c:pt idx="3">
                  <c:v>4.111799119349209E-2</c:v>
                </c:pt>
                <c:pt idx="4">
                  <c:v>1.964400100591961E-2</c:v>
                </c:pt>
                <c:pt idx="5">
                  <c:v>3.6843658710064488E-2</c:v>
                </c:pt>
                <c:pt idx="6">
                  <c:v>5.2783186464269542E-2</c:v>
                </c:pt>
                <c:pt idx="7">
                  <c:v>1.9659083486418913E-2</c:v>
                </c:pt>
                <c:pt idx="8">
                  <c:v>9.88960655107667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7.3021438099539352E-4</c:v>
                </c:pt>
                <c:pt idx="5">
                  <c:v>2.482041274311282E-3</c:v>
                </c:pt>
                <c:pt idx="6">
                  <c:v>7.9533490933709414E-3</c:v>
                </c:pt>
                <c:pt idx="7">
                  <c:v>4.5077146064882764E-2</c:v>
                </c:pt>
                <c:pt idx="8">
                  <c:v>4.0714226263446604E-2</c:v>
                </c:pt>
                <c:pt idx="9">
                  <c:v>1.2633624871253015E-2</c:v>
                </c:pt>
                <c:pt idx="10">
                  <c:v>2.038627418989331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2.7844733599744808E-3</c:v>
                </c:pt>
                <c:pt idx="2">
                  <c:v>1.0451960000806893E-3</c:v>
                </c:pt>
                <c:pt idx="3">
                  <c:v>1.3771799329136473E-2</c:v>
                </c:pt>
                <c:pt idx="4">
                  <c:v>7.8689225112287247E-4</c:v>
                </c:pt>
                <c:pt idx="5">
                  <c:v>7.003858994992459E-3</c:v>
                </c:pt>
                <c:pt idx="6">
                  <c:v>7.0326929992752474E-2</c:v>
                </c:pt>
                <c:pt idx="7">
                  <c:v>4.3901340960285834E-2</c:v>
                </c:pt>
                <c:pt idx="8">
                  <c:v>9.7153580449435561E-2</c:v>
                </c:pt>
                <c:pt idx="9">
                  <c:v>5.060576461680686E-2</c:v>
                </c:pt>
                <c:pt idx="10">
                  <c:v>4.94552156726413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5999999999999999E-3</c:v>
                </c:pt>
                <c:pt idx="5">
                  <c:v>4.02E-2</c:v>
                </c:pt>
                <c:pt idx="6">
                  <c:v>0.1522</c:v>
                </c:pt>
                <c:pt idx="7">
                  <c:v>0.38500000000000001</c:v>
                </c:pt>
                <c:pt idx="8">
                  <c:v>0.32769999999999999</c:v>
                </c:pt>
                <c:pt idx="9">
                  <c:v>8.2400000000000001E-2</c:v>
                </c:pt>
                <c:pt idx="10">
                  <c:v>9.900000000000000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8096906583749892E-4</c:v>
                </c:pt>
                <c:pt idx="5">
                  <c:v>4.3846185497573254E-3</c:v>
                </c:pt>
                <c:pt idx="6">
                  <c:v>1.6601237523760515E-2</c:v>
                </c:pt>
                <c:pt idx="7">
                  <c:v>4.2002967665951234E-2</c:v>
                </c:pt>
                <c:pt idx="8">
                  <c:v>3.5748879507964147E-2</c:v>
                </c:pt>
                <c:pt idx="9">
                  <c:v>8.9923057186475225E-3</c:v>
                </c:pt>
                <c:pt idx="10">
                  <c:v>1.076608769049459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8.0028603535492416E-4</c:v>
                </c:pt>
                <c:pt idx="7">
                  <c:v>1.0742766677238561E-2</c:v>
                </c:pt>
                <c:pt idx="8">
                  <c:v>2.1433128089056962E-2</c:v>
                </c:pt>
                <c:pt idx="9">
                  <c:v>7.791538913009359E-2</c:v>
                </c:pt>
                <c:pt idx="10">
                  <c:v>3.96701157790020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725635203864748E-4</c:v>
                </c:pt>
                <c:pt idx="1">
                  <c:v>1.4215372774110923E-2</c:v>
                </c:pt>
                <c:pt idx="2">
                  <c:v>4.8549256504206023E-3</c:v>
                </c:pt>
                <c:pt idx="3">
                  <c:v>4.262140340943385E-2</c:v>
                </c:pt>
                <c:pt idx="4">
                  <c:v>1.8334792981554462E-2</c:v>
                </c:pt>
                <c:pt idx="5">
                  <c:v>2.6101512439191687E-2</c:v>
                </c:pt>
                <c:pt idx="6">
                  <c:v>4.2468163801257251E-2</c:v>
                </c:pt>
                <c:pt idx="7">
                  <c:v>6.5960171015402719E-2</c:v>
                </c:pt>
                <c:pt idx="8">
                  <c:v>6.18025525965915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8421592720662911E-7</c:v>
                </c:pt>
                <c:pt idx="3">
                  <c:v>3.9207895083318342E-5</c:v>
                </c:pt>
                <c:pt idx="4">
                  <c:v>3.5994509643752759E-3</c:v>
                </c:pt>
                <c:pt idx="5">
                  <c:v>6.7906948442288109E-3</c:v>
                </c:pt>
                <c:pt idx="6">
                  <c:v>6.4855648512478995E-4</c:v>
                </c:pt>
                <c:pt idx="7">
                  <c:v>4.5601069406954228E-2</c:v>
                </c:pt>
                <c:pt idx="8">
                  <c:v>3.610527105383772E-2</c:v>
                </c:pt>
                <c:pt idx="9">
                  <c:v>1.5523163373035199E-2</c:v>
                </c:pt>
                <c:pt idx="10">
                  <c:v>3.78884261072578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8.4484614765677202E-4</c:v>
                </c:pt>
                <c:pt idx="1">
                  <c:v>7.7984217392588302E-3</c:v>
                </c:pt>
                <c:pt idx="2">
                  <c:v>1.1611630787972808E-3</c:v>
                </c:pt>
                <c:pt idx="3">
                  <c:v>1.7287759903645793E-2</c:v>
                </c:pt>
                <c:pt idx="4">
                  <c:v>1.2872484496999027E-3</c:v>
                </c:pt>
                <c:pt idx="5">
                  <c:v>4.197768983204269E-2</c:v>
                </c:pt>
                <c:pt idx="6">
                  <c:v>4.0059853693255494E-2</c:v>
                </c:pt>
                <c:pt idx="7">
                  <c:v>8.8369636451762337E-2</c:v>
                </c:pt>
                <c:pt idx="8">
                  <c:v>9.5409875073084793E-2</c:v>
                </c:pt>
                <c:pt idx="9">
                  <c:v>5.4763824033215558E-2</c:v>
                </c:pt>
                <c:pt idx="10">
                  <c:v>2.687617216572734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2999999999999999E-3</c:v>
                </c:pt>
                <c:pt idx="5">
                  <c:v>0.12859999999999999</c:v>
                </c:pt>
                <c:pt idx="6">
                  <c:v>0.1171</c:v>
                </c:pt>
                <c:pt idx="7">
                  <c:v>0.1106</c:v>
                </c:pt>
                <c:pt idx="8">
                  <c:v>0.55940000000000001</c:v>
                </c:pt>
                <c:pt idx="9">
                  <c:v>7.7299999999999994E-2</c:v>
                </c:pt>
                <c:pt idx="10">
                  <c:v>5.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8407897627199E-3</c:v>
                </c:pt>
                <c:pt idx="2">
                  <c:v>5.8871389526296255E-3</c:v>
                </c:pt>
                <c:pt idx="3">
                  <c:v>7.5686671135798342E-2</c:v>
                </c:pt>
                <c:pt idx="4">
                  <c:v>2.5428611936749682E-2</c:v>
                </c:pt>
                <c:pt idx="5">
                  <c:v>9.4776620778599371E-2</c:v>
                </c:pt>
                <c:pt idx="6">
                  <c:v>0.12887654807889964</c:v>
                </c:pt>
                <c:pt idx="7">
                  <c:v>0.13424372682216842</c:v>
                </c:pt>
                <c:pt idx="8">
                  <c:v>0.32910093090770842</c:v>
                </c:pt>
                <c:pt idx="9">
                  <c:v>0.10837235929418876</c:v>
                </c:pt>
                <c:pt idx="10">
                  <c:v>9.282381232509891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8616470086973345E-4</c:v>
                </c:pt>
                <c:pt idx="5">
                  <c:v>1.8966274896647383E-2</c:v>
                </c:pt>
                <c:pt idx="6">
                  <c:v>1.7261910588526542E-2</c:v>
                </c:pt>
                <c:pt idx="7">
                  <c:v>1.6312435879906873E-2</c:v>
                </c:pt>
                <c:pt idx="8">
                  <c:v>8.2470583566920719E-2</c:v>
                </c:pt>
                <c:pt idx="9">
                  <c:v>1.1400874901468067E-2</c:v>
                </c:pt>
                <c:pt idx="10">
                  <c:v>8.380937585092172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4.4176724581182049E-3</c:v>
                </c:pt>
                <c:pt idx="2">
                  <c:v>5.2222319407767429E-3</c:v>
                </c:pt>
                <c:pt idx="3">
                  <c:v>6.7782728626977706E-2</c:v>
                </c:pt>
                <c:pt idx="4">
                  <c:v>2.2670696674054521E-2</c:v>
                </c:pt>
                <c:pt idx="5">
                  <c:v>6.7396863418978353E-2</c:v>
                </c:pt>
                <c:pt idx="6">
                  <c:v>1.8634237148378224E-2</c:v>
                </c:pt>
                <c:pt idx="7">
                  <c:v>3.2490439942122321E-2</c:v>
                </c:pt>
                <c:pt idx="8">
                  <c:v>9.94331907442451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2.4687173939425898E-2</c:v>
                </c:pt>
                <c:pt idx="9">
                  <c:v>4.1754783607612346E-2</c:v>
                </c:pt>
                <c:pt idx="10">
                  <c:v>8.5981272801544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2265377165347451E-4</c:v>
                </c:pt>
                <c:pt idx="5">
                  <c:v>2.1198377766248834E-5</c:v>
                </c:pt>
                <c:pt idx="6">
                  <c:v>7.907521182326363E-3</c:v>
                </c:pt>
                <c:pt idx="7">
                  <c:v>5.7138501085232739E-2</c:v>
                </c:pt>
                <c:pt idx="8">
                  <c:v>4.0669045642507146E-2</c:v>
                </c:pt>
                <c:pt idx="9">
                  <c:v>1.3825468303636132E-2</c:v>
                </c:pt>
                <c:pt idx="10">
                  <c:v>4.787096819011850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1683316445152039E-6</c:v>
                </c:pt>
                <c:pt idx="2">
                  <c:v>6.6490701185288245E-4</c:v>
                </c:pt>
                <c:pt idx="3">
                  <c:v>7.9039425088206407E-3</c:v>
                </c:pt>
                <c:pt idx="4">
                  <c:v>2.4490967901719522E-3</c:v>
                </c:pt>
                <c:pt idx="5">
                  <c:v>8.392284085207374E-3</c:v>
                </c:pt>
                <c:pt idx="6">
                  <c:v>8.5072879159668519E-2</c:v>
                </c:pt>
                <c:pt idx="7">
                  <c:v>2.8302349914906513E-2</c:v>
                </c:pt>
                <c:pt idx="8">
                  <c:v>8.1840937014609524E-2</c:v>
                </c:pt>
                <c:pt idx="9">
                  <c:v>4.1391232481472209E-2</c:v>
                </c:pt>
                <c:pt idx="10">
                  <c:v>1.21734894603328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5.0099999999999999E-2</c:v>
                </c:pt>
                <c:pt idx="8">
                  <c:v>0.9498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249600353817023E-3</c:v>
                </c:pt>
                <c:pt idx="1">
                  <c:v>1.2443923938520774E-2</c:v>
                </c:pt>
                <c:pt idx="2">
                  <c:v>1.6670401236197788E-2</c:v>
                </c:pt>
                <c:pt idx="3">
                  <c:v>4.5334745033686293E-2</c:v>
                </c:pt>
                <c:pt idx="4">
                  <c:v>6.0531542297092004E-2</c:v>
                </c:pt>
                <c:pt idx="5">
                  <c:v>6.7423599896182268E-2</c:v>
                </c:pt>
                <c:pt idx="6">
                  <c:v>0.10550384936561592</c:v>
                </c:pt>
                <c:pt idx="7">
                  <c:v>0.20935329812945264</c:v>
                </c:pt>
                <c:pt idx="8">
                  <c:v>0.18200643392867144</c:v>
                </c:pt>
                <c:pt idx="9">
                  <c:v>5.0943431632022196E-2</c:v>
                </c:pt>
                <c:pt idx="10">
                  <c:v>0.2433638145071770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5.6242758868100303E-4</c:v>
                </c:pt>
                <c:pt idx="8">
                  <c:v>1.06532996572954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0468467992461994E-4</c:v>
                </c:pt>
                <c:pt idx="1">
                  <c:v>5.6541014204771816E-3</c:v>
                </c:pt>
                <c:pt idx="2">
                  <c:v>1.9503665363068047E-4</c:v>
                </c:pt>
                <c:pt idx="3">
                  <c:v>2.22703998226833E-2</c:v>
                </c:pt>
                <c:pt idx="4">
                  <c:v>4.1385569799076191E-2</c:v>
                </c:pt>
                <c:pt idx="5">
                  <c:v>4.3770468263807649E-3</c:v>
                </c:pt>
                <c:pt idx="6">
                  <c:v>4.1483248752538032E-2</c:v>
                </c:pt>
                <c:pt idx="7">
                  <c:v>0.11842676385372465</c:v>
                </c:pt>
                <c:pt idx="8">
                  <c:v>0.13352035093785317</c:v>
                </c:pt>
                <c:pt idx="9">
                  <c:v>4.5232246335966828E-2</c:v>
                </c:pt>
                <c:pt idx="10">
                  <c:v>0.1992036225352797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0384040264905088E-6</c:v>
                </c:pt>
                <c:pt idx="1">
                  <c:v>3.0806301073427253E-5</c:v>
                </c:pt>
                <c:pt idx="4">
                  <c:v>2.0957525486417405E-4</c:v>
                </c:pt>
                <c:pt idx="5">
                  <c:v>1.1966620913583706E-2</c:v>
                </c:pt>
                <c:pt idx="6">
                  <c:v>1.5805556190975671E-2</c:v>
                </c:pt>
                <c:pt idx="7">
                  <c:v>3.61260023823199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4815779236097655E-5</c:v>
                </c:pt>
                <c:pt idx="1">
                  <c:v>1.6202334243434465E-3</c:v>
                </c:pt>
                <c:pt idx="2">
                  <c:v>6.2292525292862301E-4</c:v>
                </c:pt>
                <c:pt idx="3">
                  <c:v>1.6965830488753532E-3</c:v>
                </c:pt>
                <c:pt idx="4">
                  <c:v>9.7794784171219094E-3</c:v>
                </c:pt>
                <c:pt idx="5">
                  <c:v>3.5507416883434686E-2</c:v>
                </c:pt>
                <c:pt idx="6">
                  <c:v>1.2550179410043083E-2</c:v>
                </c:pt>
                <c:pt idx="7">
                  <c:v>1.3704996181290452E-2</c:v>
                </c:pt>
                <c:pt idx="8">
                  <c:v>1.4700869106375667E-2</c:v>
                </c:pt>
                <c:pt idx="9">
                  <c:v>1.3863194530840321E-3</c:v>
                </c:pt>
                <c:pt idx="10">
                  <c:v>2.93522793785687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7744211721944957E-3</c:v>
                </c:pt>
                <c:pt idx="1">
                  <c:v>5.1387827926267192E-3</c:v>
                </c:pt>
                <c:pt idx="2">
                  <c:v>1.5852439329638486E-2</c:v>
                </c:pt>
                <c:pt idx="3">
                  <c:v>2.1367762162127636E-2</c:v>
                </c:pt>
                <c:pt idx="4">
                  <c:v>9.156918826029729E-3</c:v>
                </c:pt>
                <c:pt idx="5">
                  <c:v>1.5572515272783116E-2</c:v>
                </c:pt>
                <c:pt idx="6">
                  <c:v>3.5664865012059135E-2</c:v>
                </c:pt>
                <c:pt idx="7">
                  <c:v>4.0533108123436593E-2</c:v>
                </c:pt>
                <c:pt idx="8">
                  <c:v>2.313191422714711E-2</c:v>
                </c:pt>
                <c:pt idx="9">
                  <c:v>4.324865842971334E-3</c:v>
                </c:pt>
                <c:pt idx="10">
                  <c:v>1.48079125933284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2233</c:v>
                </c:pt>
                <c:pt idx="8">
                  <c:v>0.7766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0902637989208867E-7</c:v>
                </c:pt>
                <c:pt idx="7">
                  <c:v>3.7298040148804625E-3</c:v>
                </c:pt>
                <c:pt idx="8">
                  <c:v>1.297550588120280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193811307894463E-4</c:v>
                </c:pt>
                <c:pt idx="1">
                  <c:v>6.0173469111435029E-5</c:v>
                </c:pt>
                <c:pt idx="2">
                  <c:v>8.963845470016352E-3</c:v>
                </c:pt>
                <c:pt idx="3">
                  <c:v>2.3701830432512266E-2</c:v>
                </c:pt>
                <c:pt idx="4">
                  <c:v>1.3538136962298842E-2</c:v>
                </c:pt>
                <c:pt idx="5">
                  <c:v>5.2050714440147451E-2</c:v>
                </c:pt>
                <c:pt idx="6">
                  <c:v>6.6835411572889747E-2</c:v>
                </c:pt>
                <c:pt idx="7">
                  <c:v>7.8245022457428454E-2</c:v>
                </c:pt>
                <c:pt idx="8">
                  <c:v>0.12333337649728078</c:v>
                </c:pt>
                <c:pt idx="9">
                  <c:v>0.18253935133240679</c:v>
                </c:pt>
                <c:pt idx="10">
                  <c:v>3.19808898050236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323074475378015E-6</c:v>
                </c:pt>
                <c:pt idx="3">
                  <c:v>8.0997722208184354E-7</c:v>
                </c:pt>
                <c:pt idx="4">
                  <c:v>3.4743737786523303E-3</c:v>
                </c:pt>
                <c:pt idx="5">
                  <c:v>1.0002058596302368E-2</c:v>
                </c:pt>
                <c:pt idx="6">
                  <c:v>2.3991525318064207E-2</c:v>
                </c:pt>
                <c:pt idx="7">
                  <c:v>3.01333996950284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7244676341097316E-7</c:v>
                </c:pt>
                <c:pt idx="1">
                  <c:v>6.8490106201391507E-4</c:v>
                </c:pt>
                <c:pt idx="2">
                  <c:v>5.0108326353681221E-4</c:v>
                </c:pt>
                <c:pt idx="3">
                  <c:v>3.149750585020419E-3</c:v>
                </c:pt>
                <c:pt idx="4">
                  <c:v>8.9383965082644908E-3</c:v>
                </c:pt>
                <c:pt idx="5">
                  <c:v>2.4433093545586246E-2</c:v>
                </c:pt>
                <c:pt idx="6">
                  <c:v>1.1380854080325055E-2</c:v>
                </c:pt>
                <c:pt idx="7">
                  <c:v>1.5430902186178689E-2</c:v>
                </c:pt>
                <c:pt idx="8">
                  <c:v>6.3719131336949552E-3</c:v>
                </c:pt>
                <c:pt idx="9">
                  <c:v>1.3821451317604578E-2</c:v>
                </c:pt>
                <c:pt idx="10">
                  <c:v>1.77441814554659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979834848884326E-2</c:v>
                </c:pt>
                <c:pt idx="1">
                  <c:v>1.38070755283275E-2</c:v>
                </c:pt>
                <c:pt idx="2">
                  <c:v>2.2328229254029896E-2</c:v>
                </c:pt>
                <c:pt idx="3">
                  <c:v>2.1344859424168066E-2</c:v>
                </c:pt>
                <c:pt idx="4">
                  <c:v>1.0221285463533189E-2</c:v>
                </c:pt>
                <c:pt idx="5">
                  <c:v>2.1081512313801523E-2</c:v>
                </c:pt>
                <c:pt idx="6">
                  <c:v>4.1571945056203694E-2</c:v>
                </c:pt>
                <c:pt idx="7">
                  <c:v>3.7871812335948912E-2</c:v>
                </c:pt>
                <c:pt idx="8">
                  <c:v>2.9802348940214829E-2</c:v>
                </c:pt>
                <c:pt idx="9">
                  <c:v>8.0240837686595106E-3</c:v>
                </c:pt>
                <c:pt idx="10">
                  <c:v>1.3269104334399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6399999999999997E-2</c:v>
                </c:pt>
                <c:pt idx="7">
                  <c:v>7.5700000000000003E-2</c:v>
                </c:pt>
                <c:pt idx="8">
                  <c:v>0.877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100304976349817E-3</c:v>
                </c:pt>
                <c:pt idx="3">
                  <c:v>0.26868346656608316</c:v>
                </c:pt>
                <c:pt idx="4">
                  <c:v>0.24448648886529212</c:v>
                </c:pt>
                <c:pt idx="5">
                  <c:v>9.7113091973844726E-2</c:v>
                </c:pt>
                <c:pt idx="6">
                  <c:v>2.9823957368037789E-2</c:v>
                </c:pt>
                <c:pt idx="7">
                  <c:v>0.16451004332234603</c:v>
                </c:pt>
                <c:pt idx="8">
                  <c:v>0.192309086341882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592531584901567E-3</c:v>
                </c:pt>
                <c:pt idx="1">
                  <c:v>3.9365746906015022E-3</c:v>
                </c:pt>
                <c:pt idx="2">
                  <c:v>2.0756412271314948E-2</c:v>
                </c:pt>
                <c:pt idx="3">
                  <c:v>9.2991716400437199E-2</c:v>
                </c:pt>
                <c:pt idx="4">
                  <c:v>2.4277269541755013E-2</c:v>
                </c:pt>
                <c:pt idx="5">
                  <c:v>8.0415999435181115E-2</c:v>
                </c:pt>
                <c:pt idx="6">
                  <c:v>0.11774145970678358</c:v>
                </c:pt>
                <c:pt idx="7">
                  <c:v>0.21111395390431634</c:v>
                </c:pt>
                <c:pt idx="8">
                  <c:v>0.14924836341310024</c:v>
                </c:pt>
                <c:pt idx="9">
                  <c:v>0.13462867849848958</c:v>
                </c:pt>
                <c:pt idx="10">
                  <c:v>0.160730318979530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6.834180411023086E-4</c:v>
                </c:pt>
                <c:pt idx="7">
                  <c:v>1.1164244939379344E-3</c:v>
                </c:pt>
                <c:pt idx="8">
                  <c:v>1.29444647510232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3482158597522872E-3</c:v>
                </c:pt>
                <c:pt idx="3">
                  <c:v>8.7783781516719173E-2</c:v>
                </c:pt>
                <c:pt idx="4">
                  <c:v>1.2798239305948547E-3</c:v>
                </c:pt>
                <c:pt idx="5">
                  <c:v>1.0282865830713451E-3</c:v>
                </c:pt>
                <c:pt idx="6">
                  <c:v>3.2196977696309692E-2</c:v>
                </c:pt>
                <c:pt idx="7">
                  <c:v>0.11178613571762461</c:v>
                </c:pt>
                <c:pt idx="8">
                  <c:v>9.9419366244212215E-2</c:v>
                </c:pt>
                <c:pt idx="9">
                  <c:v>0.12886691936373795</c:v>
                </c:pt>
                <c:pt idx="10">
                  <c:v>0.113285868912680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1489318196314106E-4</c:v>
                </c:pt>
                <c:pt idx="1">
                  <c:v>1.1925816968012151E-3</c:v>
                </c:pt>
                <c:pt idx="2">
                  <c:v>3.7463953311854721E-4</c:v>
                </c:pt>
                <c:pt idx="3">
                  <c:v>3.9000902300152956E-3</c:v>
                </c:pt>
                <c:pt idx="4">
                  <c:v>1.9093649414540271E-2</c:v>
                </c:pt>
                <c:pt idx="5">
                  <c:v>5.1786010487178812E-2</c:v>
                </c:pt>
                <c:pt idx="6">
                  <c:v>2.497443499334397E-2</c:v>
                </c:pt>
                <c:pt idx="7">
                  <c:v>2.6951144990018789E-2</c:v>
                </c:pt>
                <c:pt idx="8">
                  <c:v>2.296589970030645E-2</c:v>
                </c:pt>
                <c:pt idx="9">
                  <c:v>3.0130658906235641E-3</c:v>
                </c:pt>
                <c:pt idx="10">
                  <c:v>3.76231455314350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0460029112298727E-3</c:v>
                </c:pt>
                <c:pt idx="5">
                  <c:v>2.0360983169438945E-2</c:v>
                </c:pt>
                <c:pt idx="6">
                  <c:v>2.3345551738145176E-2</c:v>
                </c:pt>
                <c:pt idx="7">
                  <c:v>4.10436705352630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443599765270155E-3</c:v>
                </c:pt>
                <c:pt idx="1">
                  <c:v>2.7439929938002875E-3</c:v>
                </c:pt>
                <c:pt idx="2">
                  <c:v>1.9033556878444116E-2</c:v>
                </c:pt>
                <c:pt idx="3">
                  <c:v>1.3078446537027298E-3</c:v>
                </c:pt>
                <c:pt idx="4">
                  <c:v>2.8577932853900132E-3</c:v>
                </c:pt>
                <c:pt idx="5">
                  <c:v>7.2407191954920059E-3</c:v>
                </c:pt>
                <c:pt idx="6">
                  <c:v>3.6541077237882448E-2</c:v>
                </c:pt>
                <c:pt idx="7">
                  <c:v>3.0216578167471989E-2</c:v>
                </c:pt>
                <c:pt idx="8">
                  <c:v>1.3918632717558358E-2</c:v>
                </c:pt>
                <c:pt idx="9">
                  <c:v>2.7486932441280602E-3</c:v>
                </c:pt>
                <c:pt idx="10">
                  <c:v>9.82130453541452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44219405181581E-2</c:v>
                </c:pt>
                <c:pt idx="1">
                  <c:v>1.8525575310990968E-2</c:v>
                </c:pt>
                <c:pt idx="2">
                  <c:v>1.0830848402378098E-2</c:v>
                </c:pt>
                <c:pt idx="3">
                  <c:v>1.3091761934090175E-2</c:v>
                </c:pt>
                <c:pt idx="4">
                  <c:v>2.2727357841393021E-2</c:v>
                </c:pt>
                <c:pt idx="5">
                  <c:v>0.15249326265147259</c:v>
                </c:pt>
                <c:pt idx="6">
                  <c:v>0.13267291400029826</c:v>
                </c:pt>
                <c:pt idx="7">
                  <c:v>0.14714524172169652</c:v>
                </c:pt>
                <c:pt idx="8">
                  <c:v>0.27503709972378243</c:v>
                </c:pt>
                <c:pt idx="9">
                  <c:v>0.18376269779339161</c:v>
                </c:pt>
                <c:pt idx="10">
                  <c:v>2.13690212153247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249972708031823E-4</c:v>
                </c:pt>
                <c:pt idx="1">
                  <c:v>2.6169298476754588E-4</c:v>
                </c:pt>
                <c:pt idx="2">
                  <c:v>1.6113548162056504E-4</c:v>
                </c:pt>
                <c:pt idx="3">
                  <c:v>2.9618801109981473E-7</c:v>
                </c:pt>
                <c:pt idx="4">
                  <c:v>4.3295073350191199E-3</c:v>
                </c:pt>
                <c:pt idx="5">
                  <c:v>2.6654839316012657E-2</c:v>
                </c:pt>
                <c:pt idx="6">
                  <c:v>4.6901962260299267E-2</c:v>
                </c:pt>
                <c:pt idx="7">
                  <c:v>2.9235856785686911E-3</c:v>
                </c:pt>
                <c:pt idx="8">
                  <c:v>0.15835047344348338</c:v>
                </c:pt>
                <c:pt idx="9">
                  <c:v>0.1212841000964338</c:v>
                </c:pt>
                <c:pt idx="10">
                  <c:v>1.4604261909868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3024742284719818E-4</c:v>
                </c:pt>
                <c:pt idx="1">
                  <c:v>6.4333291044825101E-4</c:v>
                </c:pt>
                <c:pt idx="2">
                  <c:v>1.6506039111228602E-3</c:v>
                </c:pt>
                <c:pt idx="3">
                  <c:v>1.3446868768787837E-3</c:v>
                </c:pt>
                <c:pt idx="4">
                  <c:v>2.5141484243773387E-3</c:v>
                </c:pt>
                <c:pt idx="5">
                  <c:v>9.0987819112419308E-2</c:v>
                </c:pt>
                <c:pt idx="6">
                  <c:v>4.0313012293352012E-2</c:v>
                </c:pt>
                <c:pt idx="7">
                  <c:v>1.3856608067815367E-2</c:v>
                </c:pt>
                <c:pt idx="8">
                  <c:v>5.5726502520698868E-3</c:v>
                </c:pt>
                <c:pt idx="10">
                  <c:v>3.815135855968743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9255065465097391E-4</c:v>
                </c:pt>
                <c:pt idx="3">
                  <c:v>4.698973431430044E-3</c:v>
                </c:pt>
                <c:pt idx="5">
                  <c:v>3.731141454143039E-3</c:v>
                </c:pt>
                <c:pt idx="6">
                  <c:v>9.8635694767163409E-3</c:v>
                </c:pt>
                <c:pt idx="7">
                  <c:v>6.7740596090052521E-2</c:v>
                </c:pt>
                <c:pt idx="8">
                  <c:v>3.600134986765700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011472255254065E-2</c:v>
                </c:pt>
                <c:pt idx="1">
                  <c:v>1.762054941577517E-2</c:v>
                </c:pt>
                <c:pt idx="2">
                  <c:v>8.8265583549837004E-3</c:v>
                </c:pt>
                <c:pt idx="3">
                  <c:v>7.0478054377702479E-3</c:v>
                </c:pt>
                <c:pt idx="4">
                  <c:v>1.5883702081996562E-2</c:v>
                </c:pt>
                <c:pt idx="5">
                  <c:v>3.1119462768897592E-2</c:v>
                </c:pt>
                <c:pt idx="6">
                  <c:v>3.5594369969930623E-2</c:v>
                </c:pt>
                <c:pt idx="7">
                  <c:v>6.262445188525996E-2</c:v>
                </c:pt>
                <c:pt idx="8">
                  <c:v>7.5112626160572141E-2</c:v>
                </c:pt>
                <c:pt idx="9">
                  <c:v>6.2478597696957822E-2</c:v>
                </c:pt>
                <c:pt idx="10">
                  <c:v>6.726607946897030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1</c:v>
                </c:pt>
                <c:pt idx="10">
                  <c:v>6.439327363122094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072206953701329E-4</c:v>
                </c:pt>
                <c:pt idx="1">
                  <c:v>9.8258963677779861E-7</c:v>
                </c:pt>
                <c:pt idx="2">
                  <c:v>5.3737979969518241E-4</c:v>
                </c:pt>
                <c:pt idx="3">
                  <c:v>3.7915792159768625E-3</c:v>
                </c:pt>
                <c:pt idx="4">
                  <c:v>1.74384459394888E-2</c:v>
                </c:pt>
                <c:pt idx="5">
                  <c:v>2.398886702522296E-2</c:v>
                </c:pt>
                <c:pt idx="6">
                  <c:v>2.8077040668504298E-2</c:v>
                </c:pt>
                <c:pt idx="7">
                  <c:v>2.4364165355091935E-2</c:v>
                </c:pt>
                <c:pt idx="8">
                  <c:v>0.11227914318733516</c:v>
                </c:pt>
                <c:pt idx="9">
                  <c:v>0.10566720078983508</c:v>
                </c:pt>
                <c:pt idx="10">
                  <c:v>6.3641668926156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800755447496039E-7</c:v>
                </c:pt>
                <c:pt idx="1">
                  <c:v>9.0931288733664395E-4</c:v>
                </c:pt>
                <c:pt idx="2">
                  <c:v>4.389767568115952E-3</c:v>
                </c:pt>
                <c:pt idx="3">
                  <c:v>2.3038977767911605E-3</c:v>
                </c:pt>
                <c:pt idx="4">
                  <c:v>2.0754355039642937E-2</c:v>
                </c:pt>
                <c:pt idx="5">
                  <c:v>8.4672717134605294E-2</c:v>
                </c:pt>
                <c:pt idx="6">
                  <c:v>3.3036414939946537E-2</c:v>
                </c:pt>
                <c:pt idx="7">
                  <c:v>1.4734461081836587E-2</c:v>
                </c:pt>
                <c:pt idx="8">
                  <c:v>4.7791785325608238E-3</c:v>
                </c:pt>
                <c:pt idx="9">
                  <c:v>2.5608424212395474E-6</c:v>
                </c:pt>
                <c:pt idx="10">
                  <c:v>3.088793433332074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5823283524473069E-4</c:v>
                </c:pt>
                <c:pt idx="3">
                  <c:v>7.7176408426039098E-3</c:v>
                </c:pt>
                <c:pt idx="4">
                  <c:v>1.4611566101307161E-6</c:v>
                </c:pt>
                <c:pt idx="5">
                  <c:v>2.6771749248684216E-4</c:v>
                </c:pt>
                <c:pt idx="6">
                  <c:v>2.7288245200244362E-2</c:v>
                </c:pt>
                <c:pt idx="7">
                  <c:v>4.7237192388286393E-2</c:v>
                </c:pt>
                <c:pt idx="8">
                  <c:v>4.7206900117100756E-2</c:v>
                </c:pt>
                <c:pt idx="9">
                  <c:v>4.533505667676302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661766274926166E-2</c:v>
                </c:pt>
                <c:pt idx="1">
                  <c:v>2.2301857350497754E-2</c:v>
                </c:pt>
                <c:pt idx="2">
                  <c:v>4.2422518441489225E-3</c:v>
                </c:pt>
                <c:pt idx="3">
                  <c:v>7.0214480836877603E-3</c:v>
                </c:pt>
                <c:pt idx="4">
                  <c:v>1.8086690360585401E-2</c:v>
                </c:pt>
                <c:pt idx="5">
                  <c:v>3.9656238419092903E-2</c:v>
                </c:pt>
                <c:pt idx="6">
                  <c:v>4.5912356089629056E-2</c:v>
                </c:pt>
                <c:pt idx="7">
                  <c:v>8.8255824431168806E-2</c:v>
                </c:pt>
                <c:pt idx="8">
                  <c:v>8.4333560793500503E-2</c:v>
                </c:pt>
                <c:pt idx="9">
                  <c:v>5.1719577939160176E-2</c:v>
                </c:pt>
                <c:pt idx="10">
                  <c:v>4.427253617315925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918174965397519E-2</c:v>
                </c:pt>
                <c:pt idx="1">
                  <c:v>7.2063106135973071E-3</c:v>
                </c:pt>
                <c:pt idx="2">
                  <c:v>7.4454837871766096E-3</c:v>
                </c:pt>
                <c:pt idx="3">
                  <c:v>1.292014843570851E-2</c:v>
                </c:pt>
                <c:pt idx="4">
                  <c:v>6.6563239755059123E-2</c:v>
                </c:pt>
                <c:pt idx="5">
                  <c:v>0.16102300693596588</c:v>
                </c:pt>
                <c:pt idx="6">
                  <c:v>0.13290516588104634</c:v>
                </c:pt>
                <c:pt idx="7">
                  <c:v>0.17400543608853142</c:v>
                </c:pt>
                <c:pt idx="8">
                  <c:v>0.20826118401731084</c:v>
                </c:pt>
                <c:pt idx="9">
                  <c:v>0.12870129858787954</c:v>
                </c:pt>
                <c:pt idx="10">
                  <c:v>6.90505509323268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0069095556790994E-3</c:v>
                </c:pt>
                <c:pt idx="3">
                  <c:v>0.268558340397415</c:v>
                </c:pt>
                <c:pt idx="4">
                  <c:v>0.24395928571237493</c:v>
                </c:pt>
                <c:pt idx="5">
                  <c:v>2.5701874930795078E-6</c:v>
                </c:pt>
                <c:pt idx="6">
                  <c:v>6.3821951677642676E-4</c:v>
                </c:pt>
                <c:pt idx="7">
                  <c:v>2.994716900928766E-2</c:v>
                </c:pt>
                <c:pt idx="8">
                  <c:v>6.420501451972349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57805541397669E-5</c:v>
                </c:pt>
                <c:pt idx="6">
                  <c:v>8.9475570026935035E-3</c:v>
                </c:pt>
                <c:pt idx="7">
                  <c:v>6.4443255164490162E-3</c:v>
                </c:pt>
                <c:pt idx="8">
                  <c:v>0.10864830325400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9.7105355184962494E-2</c:v>
                </c:pt>
                <c:pt idx="6">
                  <c:v>1.503520343847026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3.1209419558822597E-6</c:v>
                </c:pt>
                <c:pt idx="3">
                  <c:v>1.2512616866818706E-4</c:v>
                </c:pt>
                <c:pt idx="4">
                  <c:v>5.0142259877741953E-4</c:v>
                </c:pt>
                <c:pt idx="5">
                  <c:v>5.1666013891496229E-6</c:v>
                </c:pt>
                <c:pt idx="6">
                  <c:v>5.2029774100975949E-3</c:v>
                </c:pt>
                <c:pt idx="7">
                  <c:v>0.12811854879660936</c:v>
                </c:pt>
                <c:pt idx="8">
                  <c:v>1.945576856814907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5519718359413E-6</c:v>
                </c:pt>
                <c:pt idx="1">
                  <c:v>4.8868903831935883E-5</c:v>
                </c:pt>
                <c:pt idx="2">
                  <c:v>2.8924539775195559E-3</c:v>
                </c:pt>
                <c:pt idx="3">
                  <c:v>3.3221871810015869E-3</c:v>
                </c:pt>
                <c:pt idx="4">
                  <c:v>1.567027500579515E-2</c:v>
                </c:pt>
                <c:pt idx="5">
                  <c:v>9.4302455971201155E-2</c:v>
                </c:pt>
                <c:pt idx="6">
                  <c:v>3.8677722491997205E-2</c:v>
                </c:pt>
                <c:pt idx="7">
                  <c:v>2.6087623179705071E-2</c:v>
                </c:pt>
                <c:pt idx="8">
                  <c:v>2.4544927826979377E-3</c:v>
                </c:pt>
                <c:pt idx="9">
                  <c:v>1.0030788532263582E-5</c:v>
                </c:pt>
                <c:pt idx="10">
                  <c:v>5.6766278385322515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5839663085275927E-4</c:v>
                </c:pt>
                <c:pt idx="1">
                  <c:v>9.5442204318179608E-7</c:v>
                </c:pt>
                <c:pt idx="2">
                  <c:v>2.3542410398484303E-5</c:v>
                </c:pt>
                <c:pt idx="3">
                  <c:v>2.4240448481046675E-4</c:v>
                </c:pt>
                <c:pt idx="4">
                  <c:v>2.5602951447240674E-2</c:v>
                </c:pt>
                <c:pt idx="5">
                  <c:v>5.2318110239364061E-3</c:v>
                </c:pt>
                <c:pt idx="6">
                  <c:v>4.7957854968272019E-2</c:v>
                </c:pt>
                <c:pt idx="7">
                  <c:v>1.0447571538610676E-2</c:v>
                </c:pt>
                <c:pt idx="8">
                  <c:v>8.1065083848159816E-2</c:v>
                </c:pt>
                <c:pt idx="9">
                  <c:v>5.3692003889550539E-2</c:v>
                </c:pt>
                <c:pt idx="10">
                  <c:v>6.904998326954300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9154045214902155E-3</c:v>
                </c:pt>
                <c:pt idx="1">
                  <c:v>6.8317342709375865E-3</c:v>
                </c:pt>
                <c:pt idx="3">
                  <c:v>6.5530742245913513E-5</c:v>
                </c:pt>
                <c:pt idx="4">
                  <c:v>1.2039441459744225E-4</c:v>
                </c:pt>
                <c:pt idx="5">
                  <c:v>1.5812515080492088E-2</c:v>
                </c:pt>
                <c:pt idx="6">
                  <c:v>1.5999064042592426E-2</c:v>
                </c:pt>
                <c:pt idx="7">
                  <c:v>5.3520108112936698E-2</c:v>
                </c:pt>
                <c:pt idx="8">
                  <c:v>1.3410534224326857E-2</c:v>
                </c:pt>
                <c:pt idx="9">
                  <c:v>7.009729615354193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684152926108271E-2</c:v>
                </c:pt>
                <c:pt idx="1">
                  <c:v>3.2475301678460327E-4</c:v>
                </c:pt>
                <c:pt idx="2">
                  <c:v>4.5294873992585694E-3</c:v>
                </c:pt>
                <c:pt idx="3">
                  <c:v>9.2900260276505414E-3</c:v>
                </c:pt>
                <c:pt idx="4">
                  <c:v>2.5169618887425856E-2</c:v>
                </c:pt>
                <c:pt idx="5">
                  <c:v>4.5676224860336241E-2</c:v>
                </c:pt>
                <c:pt idx="6">
                  <c:v>3.0270524378184682E-2</c:v>
                </c:pt>
                <c:pt idx="7">
                  <c:v>8.3950133257279E-2</c:v>
                </c:pt>
                <c:pt idx="8">
                  <c:v>0.11133107316212625</c:v>
                </c:pt>
                <c:pt idx="9">
                  <c:v>4.901967756254833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63418572699626E-2</c:v>
                </c:pt>
                <c:pt idx="1">
                  <c:v>2.1724384786094904E-2</c:v>
                </c:pt>
                <c:pt idx="2">
                  <c:v>4.1414606767385245E-2</c:v>
                </c:pt>
                <c:pt idx="3">
                  <c:v>2.1675870432187948E-2</c:v>
                </c:pt>
                <c:pt idx="4">
                  <c:v>5.2576267878937134E-2</c:v>
                </c:pt>
                <c:pt idx="5">
                  <c:v>6.372480657963811E-2</c:v>
                </c:pt>
                <c:pt idx="6">
                  <c:v>0.13090576767225237</c:v>
                </c:pt>
                <c:pt idx="7">
                  <c:v>0.17797195797908866</c:v>
                </c:pt>
                <c:pt idx="8">
                  <c:v>0.38160066799202275</c:v>
                </c:pt>
                <c:pt idx="9">
                  <c:v>7.1611015796664484E-2</c:v>
                </c:pt>
                <c:pt idx="10">
                  <c:v>2.831235543028778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627993719166205E-3</c:v>
                </c:pt>
                <c:pt idx="1">
                  <c:v>8.7688137204002014E-4</c:v>
                </c:pt>
                <c:pt idx="2">
                  <c:v>1.9981259896930361E-2</c:v>
                </c:pt>
                <c:pt idx="3">
                  <c:v>1.6324014573663459E-3</c:v>
                </c:pt>
                <c:pt idx="4">
                  <c:v>6.8090429702527518E-3</c:v>
                </c:pt>
                <c:pt idx="5">
                  <c:v>4.234729917675846E-2</c:v>
                </c:pt>
                <c:pt idx="6">
                  <c:v>1.0991930094336426E-2</c:v>
                </c:pt>
                <c:pt idx="7">
                  <c:v>0.10026226218434729</c:v>
                </c:pt>
                <c:pt idx="8">
                  <c:v>0.19569457358830389</c:v>
                </c:pt>
                <c:pt idx="9">
                  <c:v>6.9300325624541192E-2</c:v>
                </c:pt>
                <c:pt idx="10">
                  <c:v>2.57448820758986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76734586082283E-4</c:v>
                </c:pt>
                <c:pt idx="2">
                  <c:v>8.0075754481299911E-4</c:v>
                </c:pt>
                <c:pt idx="3">
                  <c:v>2.5958047086377017E-7</c:v>
                </c:pt>
                <c:pt idx="4">
                  <c:v>3.2744667248337057E-2</c:v>
                </c:pt>
                <c:pt idx="5">
                  <c:v>3.1322710150894933E-6</c:v>
                </c:pt>
                <c:pt idx="6">
                  <c:v>7.7718913373651985E-2</c:v>
                </c:pt>
                <c:pt idx="7">
                  <c:v>2.2565809938009898E-2</c:v>
                </c:pt>
                <c:pt idx="8">
                  <c:v>0.113940892179438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1398713891251741E-3</c:v>
                </c:pt>
                <c:pt idx="4">
                  <c:v>1.0270363134599081E-4</c:v>
                </c:pt>
                <c:pt idx="6">
                  <c:v>2.2558341437033901E-2</c:v>
                </c:pt>
                <c:pt idx="7">
                  <c:v>2.6974316990783479E-3</c:v>
                </c:pt>
                <c:pt idx="8">
                  <c:v>4.8722609138244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2442945742174774E-2</c:v>
                </c:pt>
                <c:pt idx="1">
                  <c:v>2.0847503414054887E-2</c:v>
                </c:pt>
                <c:pt idx="2">
                  <c:v>2.0632589325641888E-2</c:v>
                </c:pt>
                <c:pt idx="3">
                  <c:v>1.7903338005225564E-2</c:v>
                </c:pt>
                <c:pt idx="4">
                  <c:v>1.2919854029001331E-2</c:v>
                </c:pt>
                <c:pt idx="5">
                  <c:v>2.1374375131864562E-2</c:v>
                </c:pt>
                <c:pt idx="6">
                  <c:v>1.9636582767230043E-2</c:v>
                </c:pt>
                <c:pt idx="7">
                  <c:v>5.2446454157653116E-2</c:v>
                </c:pt>
                <c:pt idx="8">
                  <c:v>2.3242593086035841E-2</c:v>
                </c:pt>
                <c:pt idx="9">
                  <c:v>2.3106901721232985E-3</c:v>
                </c:pt>
                <c:pt idx="10">
                  <c:v>2.567473354389141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2895615689523123E-3</c:v>
                </c:pt>
                <c:pt idx="1">
                  <c:v>1.2191397881004248E-2</c:v>
                </c:pt>
                <c:pt idx="2">
                  <c:v>1.0974375492565613E-2</c:v>
                </c:pt>
                <c:pt idx="3">
                  <c:v>2.2957743157416563E-3</c:v>
                </c:pt>
                <c:pt idx="4">
                  <c:v>1.2578924651319585E-2</c:v>
                </c:pt>
                <c:pt idx="5">
                  <c:v>5.5726885091712086E-2</c:v>
                </c:pt>
                <c:pt idx="6">
                  <c:v>3.0004173992332232E-2</c:v>
                </c:pt>
                <c:pt idx="7">
                  <c:v>0.1044620805993903</c:v>
                </c:pt>
                <c:pt idx="8">
                  <c:v>8.336121691648106E-2</c:v>
                </c:pt>
                <c:pt idx="9">
                  <c:v>9.0957371374645851E-2</c:v>
                </c:pt>
                <c:pt idx="10">
                  <c:v>4.172937746034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037277176314197E-5</c:v>
                </c:pt>
                <c:pt idx="2">
                  <c:v>2.1039368592767134E-5</c:v>
                </c:pt>
                <c:pt idx="3">
                  <c:v>1.2804621056102856E-5</c:v>
                </c:pt>
                <c:pt idx="4">
                  <c:v>3.2882094847373367E-2</c:v>
                </c:pt>
                <c:pt idx="5">
                  <c:v>1.6265488739259478E-2</c:v>
                </c:pt>
                <c:pt idx="6">
                  <c:v>7.8624434563229401E-2</c:v>
                </c:pt>
                <c:pt idx="7">
                  <c:v>5.0416138591354513E-2</c:v>
                </c:pt>
                <c:pt idx="8">
                  <c:v>7.90571514739775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2155196105875398E-3</c:v>
                </c:pt>
                <c:pt idx="4">
                  <c:v>1.9176191518417963E-3</c:v>
                </c:pt>
                <c:pt idx="5">
                  <c:v>2.2228582814683231E-5</c:v>
                </c:pt>
                <c:pt idx="6">
                  <c:v>2.1670370146516651E-2</c:v>
                </c:pt>
                <c:pt idx="7">
                  <c:v>3.1357634404897868E-3</c:v>
                </c:pt>
                <c:pt idx="8">
                  <c:v>3.452698005832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9221771107810119E-2</c:v>
                </c:pt>
                <c:pt idx="1">
                  <c:v>2.7556651454273242E-2</c:v>
                </c:pt>
                <c:pt idx="2">
                  <c:v>2.515716868317883E-2</c:v>
                </c:pt>
                <c:pt idx="3">
                  <c:v>1.7945751203475444E-2</c:v>
                </c:pt>
                <c:pt idx="4">
                  <c:v>1.743524173221063E-2</c:v>
                </c:pt>
                <c:pt idx="5">
                  <c:v>1.3183097831396064E-2</c:v>
                </c:pt>
                <c:pt idx="6">
                  <c:v>4.417723656846298E-2</c:v>
                </c:pt>
                <c:pt idx="7">
                  <c:v>4.457848043867136E-2</c:v>
                </c:pt>
                <c:pt idx="8">
                  <c:v>1.228981096736885E-2</c:v>
                </c:pt>
                <c:pt idx="9">
                  <c:v>9.7653933889606855E-3</c:v>
                </c:pt>
                <c:pt idx="10">
                  <c:v>8.40026521421775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41257537623539E-2</c:v>
                </c:pt>
                <c:pt idx="1">
                  <c:v>9.117305413480924E-3</c:v>
                </c:pt>
                <c:pt idx="2">
                  <c:v>1.6301635329842315E-2</c:v>
                </c:pt>
                <c:pt idx="3">
                  <c:v>1.2411255521436126E-2</c:v>
                </c:pt>
                <c:pt idx="4">
                  <c:v>5.219875481715807E-2</c:v>
                </c:pt>
                <c:pt idx="5">
                  <c:v>9.1798095526811688E-2</c:v>
                </c:pt>
                <c:pt idx="6">
                  <c:v>0.20263346870495211</c:v>
                </c:pt>
                <c:pt idx="7">
                  <c:v>0.15958441887694685</c:v>
                </c:pt>
                <c:pt idx="8">
                  <c:v>0.3649632933266263</c:v>
                </c:pt>
                <c:pt idx="9">
                  <c:v>7.945051494512211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2.0961684833031434E-3</c:v>
                </c:pt>
                <c:pt idx="4">
                  <c:v>4.2310797289750679E-2</c:v>
                </c:pt>
                <c:pt idx="5">
                  <c:v>1.4619105818097845E-3</c:v>
                </c:pt>
                <c:pt idx="6">
                  <c:v>0.12444061231207575</c:v>
                </c:pt>
                <c:pt idx="7">
                  <c:v>2.602444516081143E-2</c:v>
                </c:pt>
                <c:pt idx="8">
                  <c:v>0.139078434734062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2408055063195327E-3</c:v>
                </c:pt>
                <c:pt idx="2">
                  <c:v>1.3995765935539875E-2</c:v>
                </c:pt>
                <c:pt idx="3">
                  <c:v>5.5229578643163904E-3</c:v>
                </c:pt>
                <c:pt idx="4">
                  <c:v>5.847257462007649E-3</c:v>
                </c:pt>
                <c:pt idx="5">
                  <c:v>7.9944580622029512E-2</c:v>
                </c:pt>
                <c:pt idx="6">
                  <c:v>2.6257339266024124E-2</c:v>
                </c:pt>
                <c:pt idx="7">
                  <c:v>8.0604057324217798E-2</c:v>
                </c:pt>
                <c:pt idx="8">
                  <c:v>0.12730775700634242</c:v>
                </c:pt>
                <c:pt idx="9">
                  <c:v>7.94505149451221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4179245370635902E-7</c:v>
                </c:pt>
                <c:pt idx="3">
                  <c:v>2.2281671296713562E-7</c:v>
                </c:pt>
                <c:pt idx="4">
                  <c:v>1.3166442129876197E-7</c:v>
                </c:pt>
                <c:pt idx="6">
                  <c:v>2.407768541158516E-2</c:v>
                </c:pt>
                <c:pt idx="7">
                  <c:v>1.0893407816639185E-3</c:v>
                </c:pt>
                <c:pt idx="8">
                  <c:v>7.87349897115901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541257537623539E-2</c:v>
                </c:pt>
                <c:pt idx="1">
                  <c:v>7.8764999071613915E-3</c:v>
                </c:pt>
                <c:pt idx="2">
                  <c:v>2.3057276018487345E-3</c:v>
                </c:pt>
                <c:pt idx="3">
                  <c:v>4.7919063571036256E-3</c:v>
                </c:pt>
                <c:pt idx="4">
                  <c:v>4.0405684009784445E-3</c:v>
                </c:pt>
                <c:pt idx="5">
                  <c:v>1.039160432297238E-2</c:v>
                </c:pt>
                <c:pt idx="6">
                  <c:v>2.785783171526706E-2</c:v>
                </c:pt>
                <c:pt idx="7">
                  <c:v>5.1866575610253707E-2</c:v>
                </c:pt>
                <c:pt idx="8">
                  <c:v>1.984211187463083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9E-2</c:v>
                </c:pt>
                <c:pt idx="1">
                  <c:v>3.4208146091019583E-2</c:v>
                </c:pt>
                <c:pt idx="2">
                  <c:v>4.638899137720838E-2</c:v>
                </c:pt>
                <c:pt idx="3">
                  <c:v>4.2363038609228514E-2</c:v>
                </c:pt>
                <c:pt idx="4">
                  <c:v>7.3599001227352398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2067234970202518E-4</c:v>
                </c:pt>
                <c:pt idx="1">
                  <c:v>2.8405607312913979E-6</c:v>
                </c:pt>
                <c:pt idx="2">
                  <c:v>2.000832835447843E-3</c:v>
                </c:pt>
                <c:pt idx="3">
                  <c:v>2.0922698191585174E-3</c:v>
                </c:pt>
                <c:pt idx="4">
                  <c:v>1.9837289047332017E-3</c:v>
                </c:pt>
                <c:pt idx="5">
                  <c:v>1.335072022992722E-2</c:v>
                </c:pt>
                <c:pt idx="6">
                  <c:v>0.20974885772815974</c:v>
                </c:pt>
                <c:pt idx="7">
                  <c:v>0.10680264267358276</c:v>
                </c:pt>
                <c:pt idx="8">
                  <c:v>5.3849702939730822E-3</c:v>
                </c:pt>
                <c:pt idx="9">
                  <c:v>1.24086715814302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6932347279614364E-7</c:v>
                </c:pt>
                <c:pt idx="1">
                  <c:v>2.3792966706217691E-2</c:v>
                </c:pt>
                <c:pt idx="2">
                  <c:v>3.1812117972593569E-2</c:v>
                </c:pt>
                <c:pt idx="4">
                  <c:v>2.1253269203768297E-3</c:v>
                </c:pt>
                <c:pt idx="5">
                  <c:v>0.12330438662645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224575664137333E-3</c:v>
                </c:pt>
                <c:pt idx="2">
                  <c:v>2.8526376568739032E-3</c:v>
                </c:pt>
                <c:pt idx="3">
                  <c:v>5.1450610165164013E-3</c:v>
                </c:pt>
                <c:pt idx="4">
                  <c:v>5.7721799067503875E-2</c:v>
                </c:pt>
                <c:pt idx="5">
                  <c:v>1.2534031764833841E-2</c:v>
                </c:pt>
                <c:pt idx="6">
                  <c:v>8.6587668068377394E-2</c:v>
                </c:pt>
                <c:pt idx="8">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985537730199132E-2</c:v>
                </c:pt>
                <c:pt idx="1">
                  <c:v>1.0412338824070604E-2</c:v>
                </c:pt>
                <c:pt idx="2">
                  <c:v>9.7234029122930648E-3</c:v>
                </c:pt>
                <c:pt idx="3">
                  <c:v>3.5125707773553602E-2</c:v>
                </c:pt>
                <c:pt idx="4">
                  <c:v>1.1768146334738484E-2</c:v>
                </c:pt>
                <c:pt idx="5">
                  <c:v>6.7473014037106302E-2</c:v>
                </c:pt>
                <c:pt idx="6">
                  <c:v>6.2165447508902738E-2</c:v>
                </c:pt>
                <c:pt idx="7">
                  <c:v>1.0004969709386895E-2</c:v>
                </c:pt>
                <c:pt idx="8">
                  <c:v>2.3439762057674576E-2</c:v>
                </c:pt>
                <c:pt idx="9">
                  <c:v>1.05801802291570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4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3375518511576435E-3</c:v>
                </c:pt>
                <c:pt idx="1">
                  <c:v>2.1602037164684789E-5</c:v>
                </c:pt>
                <c:pt idx="2">
                  <c:v>9.2131917006053315E-3</c:v>
                </c:pt>
                <c:pt idx="3">
                  <c:v>3.275023134431676E-5</c:v>
                </c:pt>
                <c:pt idx="4">
                  <c:v>1.4103430013893581E-3</c:v>
                </c:pt>
                <c:pt idx="5">
                  <c:v>4.3140155444401931E-2</c:v>
                </c:pt>
                <c:pt idx="6">
                  <c:v>0.11246984924594039</c:v>
                </c:pt>
                <c:pt idx="7">
                  <c:v>4.5377856469198716E-2</c:v>
                </c:pt>
                <c:pt idx="8">
                  <c:v>1.7636134591646855E-3</c:v>
                </c:pt>
                <c:pt idx="9">
                  <c:v>6.1438893951009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1180255460291005E-3</c:v>
                </c:pt>
                <c:pt idx="2">
                  <c:v>5.0127102914921035E-2</c:v>
                </c:pt>
                <c:pt idx="3">
                  <c:v>1.7280858230420521E-3</c:v>
                </c:pt>
                <c:pt idx="4">
                  <c:v>2.6365247784431421E-2</c:v>
                </c:pt>
                <c:pt idx="5">
                  <c:v>0.1007955683112156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2.1212428994393153E-4</c:v>
                </c:pt>
                <c:pt idx="2">
                  <c:v>9.317537255124032E-3</c:v>
                </c:pt>
                <c:pt idx="3">
                  <c:v>2.6069029849810682E-4</c:v>
                </c:pt>
                <c:pt idx="4">
                  <c:v>6.6651696969245763E-2</c:v>
                </c:pt>
                <c:pt idx="5">
                  <c:v>2.5915848261273244E-2</c:v>
                </c:pt>
                <c:pt idx="6">
                  <c:v>7.5755991257501265E-2</c:v>
                </c:pt>
                <c:pt idx="8">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764937239717154E-2</c:v>
                </c:pt>
                <c:pt idx="1">
                  <c:v>1.2207311201763375E-2</c:v>
                </c:pt>
                <c:pt idx="2">
                  <c:v>1.8966742930858708E-2</c:v>
                </c:pt>
                <c:pt idx="3">
                  <c:v>2.8261328021495263E-2</c:v>
                </c:pt>
                <c:pt idx="4">
                  <c:v>4.5850478182308925E-2</c:v>
                </c:pt>
                <c:pt idx="5">
                  <c:v>0.11965464823184818</c:v>
                </c:pt>
                <c:pt idx="6">
                  <c:v>2.9760586550857119E-2</c:v>
                </c:pt>
                <c:pt idx="7">
                  <c:v>1.1203742275198304E-2</c:v>
                </c:pt>
                <c:pt idx="8">
                  <c:v>7.6324240560131568E-2</c:v>
                </c:pt>
                <c:pt idx="9">
                  <c:v>7.10795745370770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1E-2</c:v>
                </c:pt>
                <c:pt idx="1">
                  <c:v>8.6420771688770298E-2</c:v>
                </c:pt>
                <c:pt idx="2">
                  <c:v>1.497950272481768E-2</c:v>
                </c:pt>
                <c:pt idx="3">
                  <c:v>3.8435745481682639E-2</c:v>
                </c:pt>
                <c:pt idx="4">
                  <c:v>9.2213614362690724E-2</c:v>
                </c:pt>
                <c:pt idx="5">
                  <c:v>0.23543198442819935</c:v>
                </c:pt>
                <c:pt idx="6">
                  <c:v>0.18117729862300255</c:v>
                </c:pt>
                <c:pt idx="7">
                  <c:v>0.20368518910803782</c:v>
                </c:pt>
                <c:pt idx="8">
                  <c:v>9.7217979514334779E-2</c:v>
                </c:pt>
                <c:pt idx="9">
                  <c:v>2.85902206518969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4.2428664933548254E-3</c:v>
                </c:pt>
                <c:pt idx="3">
                  <c:v>9.8194024376712114E-3</c:v>
                </c:pt>
                <c:pt idx="4">
                  <c:v>1.1778201192094651E-2</c:v>
                </c:pt>
                <c:pt idx="5">
                  <c:v>2.2363432229188829E-6</c:v>
                </c:pt>
                <c:pt idx="6">
                  <c:v>1.1011135466633473E-2</c:v>
                </c:pt>
                <c:pt idx="7">
                  <c:v>0.19000214688949399</c:v>
                </c:pt>
                <c:pt idx="8">
                  <c:v>4.5250168772540678E-2</c:v>
                </c:pt>
                <c:pt idx="9">
                  <c:v>1.8204166906954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0456139789913159E-3</c:v>
                </c:pt>
                <c:pt idx="1">
                  <c:v>7.5389509133130556E-2</c:v>
                </c:pt>
                <c:pt idx="2">
                  <c:v>7.0250202079780166E-3</c:v>
                </c:pt>
                <c:pt idx="4">
                  <c:v>2.5381543944715312E-2</c:v>
                </c:pt>
                <c:pt idx="5">
                  <c:v>0.15677080032347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3686511881263308E-3</c:v>
                </c:pt>
                <c:pt idx="4">
                  <c:v>3.5295110706602621E-2</c:v>
                </c:pt>
                <c:pt idx="6">
                  <c:v>0.12133356286779519</c:v>
                </c:pt>
                <c:pt idx="7">
                  <c:v>5.0100273823574029E-3</c:v>
                </c:pt>
                <c:pt idx="8">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802079437575857E-2</c:v>
                </c:pt>
                <c:pt idx="1">
                  <c:v>1.1031262555639744E-2</c:v>
                </c:pt>
                <c:pt idx="2">
                  <c:v>3.7116160234848396E-3</c:v>
                </c:pt>
                <c:pt idx="3">
                  <c:v>2.3247691855885096E-2</c:v>
                </c:pt>
                <c:pt idx="4">
                  <c:v>1.9758758519278136E-2</c:v>
                </c:pt>
                <c:pt idx="5">
                  <c:v>7.8658947761496567E-2</c:v>
                </c:pt>
                <c:pt idx="6">
                  <c:v>4.8832600288573919E-2</c:v>
                </c:pt>
                <c:pt idx="7">
                  <c:v>8.6730148361864323E-3</c:v>
                </c:pt>
                <c:pt idx="8">
                  <c:v>2.4761934126654679E-2</c:v>
                </c:pt>
                <c:pt idx="9">
                  <c:v>1.0386053744942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0681801079956994E-3</c:v>
                </c:pt>
                <c:pt idx="2">
                  <c:v>2.9228958218770959E-2</c:v>
                </c:pt>
                <c:pt idx="3">
                  <c:v>3.1519021903612604E-3</c:v>
                </c:pt>
                <c:pt idx="4">
                  <c:v>1.5768353612406562E-2</c:v>
                </c:pt>
                <c:pt idx="5">
                  <c:v>1.4096812643019339E-2</c:v>
                </c:pt>
                <c:pt idx="6">
                  <c:v>3.4586590784087837E-2</c:v>
                </c:pt>
                <c:pt idx="7">
                  <c:v>0.16463381743762401</c:v>
                </c:pt>
                <c:pt idx="8">
                  <c:v>0.2164237616324487</c:v>
                </c:pt>
                <c:pt idx="9">
                  <c:v>0.21428098529602463</c:v>
                </c:pt>
                <c:pt idx="10">
                  <c:v>0.3035696722641849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6267520693014</c:v>
                </c:pt>
                <c:pt idx="1">
                  <c:v>1.2898882045537288E-2</c:v>
                </c:pt>
                <c:pt idx="2">
                  <c:v>1.7946845665942627E-2</c:v>
                </c:pt>
                <c:pt idx="3">
                  <c:v>2.9438823787704141E-2</c:v>
                </c:pt>
                <c:pt idx="4">
                  <c:v>9.6520940868899327E-2</c:v>
                </c:pt>
                <c:pt idx="5">
                  <c:v>8.4411859545073936E-2</c:v>
                </c:pt>
                <c:pt idx="6">
                  <c:v>0.18500629086262083</c:v>
                </c:pt>
                <c:pt idx="7">
                  <c:v>0.25423137173567506</c:v>
                </c:pt>
                <c:pt idx="8">
                  <c:v>0.10018099339047251</c:v>
                </c:pt>
                <c:pt idx="9">
                  <c:v>2.0525372145960695E-2</c:v>
                </c:pt>
                <c:pt idx="10">
                  <c:v>3.875944745183480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86971688711839E-2</c:v>
                </c:pt>
                <c:pt idx="1">
                  <c:v>1.5974459595292229E-3</c:v>
                </c:pt>
                <c:pt idx="2">
                  <c:v>1.8387168246666462E-5</c:v>
                </c:pt>
                <c:pt idx="3">
                  <c:v>7.3490810415649749E-3</c:v>
                </c:pt>
                <c:pt idx="4">
                  <c:v>1.2773537530529365E-2</c:v>
                </c:pt>
                <c:pt idx="5">
                  <c:v>4.9918432269753024E-2</c:v>
                </c:pt>
                <c:pt idx="6">
                  <c:v>3.0035188328909276E-2</c:v>
                </c:pt>
                <c:pt idx="7">
                  <c:v>0.11509931168295184</c:v>
                </c:pt>
                <c:pt idx="8">
                  <c:v>7.2608145043608824E-2</c:v>
                </c:pt>
                <c:pt idx="9">
                  <c:v>1.8933787642518948E-2</c:v>
                </c:pt>
                <c:pt idx="10">
                  <c:v>3.725648393703323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2174329166919292E-2</c:v>
                </c:pt>
                <c:pt idx="5">
                  <c:v>3.2737045210557078E-3</c:v>
                </c:pt>
                <c:pt idx="6">
                  <c:v>6.4598286448432213E-2</c:v>
                </c:pt>
                <c:pt idx="7">
                  <c:v>4.07556553417644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9024733702505884E-4</c:v>
                </c:pt>
                <c:pt idx="2">
                  <c:v>5.5563311213124834E-4</c:v>
                </c:pt>
                <c:pt idx="3">
                  <c:v>4.8828124206091788E-4</c:v>
                </c:pt>
                <c:pt idx="4">
                  <c:v>7.5690624640823226E-4</c:v>
                </c:pt>
                <c:pt idx="5">
                  <c:v>2.6462238589423765E-3</c:v>
                </c:pt>
                <c:pt idx="6">
                  <c:v>9.0242847848843175E-4</c:v>
                </c:pt>
                <c:pt idx="7">
                  <c:v>2.7495490946863193E-2</c:v>
                </c:pt>
                <c:pt idx="8">
                  <c:v>3.944329077005696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2590271098278669</c:v>
                </c:pt>
                <c:pt idx="1">
                  <c:v>1.1301436086008063E-2</c:v>
                </c:pt>
                <c:pt idx="2">
                  <c:v>1.7372825385564714E-2</c:v>
                </c:pt>
                <c:pt idx="3">
                  <c:v>2.1601461504078247E-2</c:v>
                </c:pt>
                <c:pt idx="4">
                  <c:v>5.0816167925042434E-2</c:v>
                </c:pt>
                <c:pt idx="5">
                  <c:v>2.8573498895322832E-2</c:v>
                </c:pt>
                <c:pt idx="6">
                  <c:v>8.9470387606790894E-2</c:v>
                </c:pt>
                <c:pt idx="7">
                  <c:v>0.10756100357168356</c:v>
                </c:pt>
                <c:pt idx="8">
                  <c:v>2.7178415439163134E-2</c:v>
                </c:pt>
                <c:pt idx="9">
                  <c:v>1.59158450344174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2E-2</c:v>
                </c:pt>
                <c:pt idx="5">
                  <c:v>0.11494751174683013</c:v>
                </c:pt>
                <c:pt idx="6">
                  <c:v>0.17365993639694652</c:v>
                </c:pt>
                <c:pt idx="7">
                  <c:v>0.17952376942204423</c:v>
                </c:pt>
                <c:pt idx="8">
                  <c:v>8.2893600058558198E-2</c:v>
                </c:pt>
                <c:pt idx="9">
                  <c:v>1.0852694598812915E-2</c:v>
                </c:pt>
                <c:pt idx="10">
                  <c:v>7.80182996086873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9.0782490226790774E-2</c:v>
                </c:pt>
                <c:pt idx="1">
                  <c:v>3.6498678989089948E-3</c:v>
                </c:pt>
                <c:pt idx="2">
                  <c:v>1.3021314977468314E-4</c:v>
                </c:pt>
                <c:pt idx="3">
                  <c:v>2.4115791299788969E-2</c:v>
                </c:pt>
                <c:pt idx="4">
                  <c:v>3.4095393137324376E-2</c:v>
                </c:pt>
                <c:pt idx="5">
                  <c:v>5.0090418365926447E-2</c:v>
                </c:pt>
                <c:pt idx="6">
                  <c:v>4.3030400579000906E-2</c:v>
                </c:pt>
                <c:pt idx="7">
                  <c:v>8.4587082630668844E-2</c:v>
                </c:pt>
                <c:pt idx="8">
                  <c:v>1.8760286273090294E-2</c:v>
                </c:pt>
                <c:pt idx="9">
                  <c:v>7.89996305385118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6529993479664411E-2</c:v>
                </c:pt>
                <c:pt idx="5">
                  <c:v>1.5983326112948473E-2</c:v>
                </c:pt>
                <c:pt idx="6">
                  <c:v>3.6642299154613651E-2</c:v>
                </c:pt>
                <c:pt idx="7">
                  <c:v>7.044404733553281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ocha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5422420267787064E-2</c:v>
                </c:pt>
                <c:pt idx="1">
                  <c:v>7.2585754055184613E-7</c:v>
                </c:pt>
                <c:pt idx="2">
                  <c:v>9.4233387764583793E-5</c:v>
                </c:pt>
                <c:pt idx="3">
                  <c:v>4.4496063510883832E-3</c:v>
                </c:pt>
                <c:pt idx="4">
                  <c:v>7.903706201560306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3511243198839379</c:v>
                </c:pt>
                <c:pt idx="1">
                  <c:v>2.0344719424108614E-2</c:v>
                </c:pt>
                <c:pt idx="2">
                  <c:v>1.7689205193251671E-2</c:v>
                </c:pt>
                <c:pt idx="3">
                  <c:v>1.9031700063253505E-2</c:v>
                </c:pt>
                <c:pt idx="4">
                  <c:v>2.7989806853720534E-2</c:v>
                </c:pt>
                <c:pt idx="5">
                  <c:v>4.8873767267955191E-2</c:v>
                </c:pt>
                <c:pt idx="6">
                  <c:v>9.3987236663331947E-2</c:v>
                </c:pt>
                <c:pt idx="7">
                  <c:v>8.7892282057822069E-2</c:v>
                </c:pt>
                <c:pt idx="8">
                  <c:v>6.413331378546791E-2</c:v>
                </c:pt>
                <c:pt idx="9">
                  <c:v>2.9527315449617295E-3</c:v>
                </c:pt>
                <c:pt idx="10">
                  <c:v>7.8018299608687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34487526752247</c:v>
                </c:pt>
                <c:pt idx="1">
                  <c:v>8.6388730647585267E-3</c:v>
                </c:pt>
                <c:pt idx="2">
                  <c:v>7.0231276717453266E-3</c:v>
                </c:pt>
                <c:pt idx="3">
                  <c:v>2.7029708298252682E-2</c:v>
                </c:pt>
                <c:pt idx="4">
                  <c:v>9.9634202523714965E-2</c:v>
                </c:pt>
                <c:pt idx="5">
                  <c:v>8.093983357307101E-2</c:v>
                </c:pt>
                <c:pt idx="6">
                  <c:v>0.20959900182304106</c:v>
                </c:pt>
                <c:pt idx="7">
                  <c:v>0.23816393941505132</c:v>
                </c:pt>
                <c:pt idx="8">
                  <c:v>0.1377539702635304</c:v>
                </c:pt>
                <c:pt idx="9">
                  <c:v>6.5697004068989789E-2</c:v>
                </c:pt>
                <c:pt idx="10">
                  <c:v>1.41754640303225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2543591800751919E-2</c:v>
                </c:pt>
                <c:pt idx="1">
                  <c:v>2.7590807500733382E-3</c:v>
                </c:pt>
                <c:pt idx="3">
                  <c:v>7.7166322509403243E-3</c:v>
                </c:pt>
                <c:pt idx="4">
                  <c:v>5.9735084658300841E-4</c:v>
                </c:pt>
                <c:pt idx="5">
                  <c:v>3.1830293047899576E-2</c:v>
                </c:pt>
                <c:pt idx="6">
                  <c:v>1.9441112333369377E-2</c:v>
                </c:pt>
                <c:pt idx="7">
                  <c:v>0.11073277241406766</c:v>
                </c:pt>
                <c:pt idx="8">
                  <c:v>0.11577682853613365</c:v>
                </c:pt>
                <c:pt idx="9">
                  <c:v>6.50042670327481E-2</c:v>
                </c:pt>
                <c:pt idx="10">
                  <c:v>1.415805514399696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231195239816684E-2</c:v>
                </c:pt>
                <c:pt idx="5">
                  <c:v>3.3488236434268716E-3</c:v>
                </c:pt>
                <c:pt idx="6">
                  <c:v>7.52887100167054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31413019586515E-5</c:v>
                </c:pt>
                <c:pt idx="1">
                  <c:v>3.2581270568675103E-3</c:v>
                </c:pt>
                <c:pt idx="2">
                  <c:v>1.4175084476114822E-4</c:v>
                </c:pt>
                <c:pt idx="4">
                  <c:v>6.4359741815419582E-4</c:v>
                </c:pt>
                <c:pt idx="5">
                  <c:v>1.0636289734475685E-3</c:v>
                </c:pt>
                <c:pt idx="6">
                  <c:v>3.4325693272629403E-2</c:v>
                </c:pt>
                <c:pt idx="7">
                  <c:v>3.074734054801217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8775052053750947E-2</c:v>
                </c:pt>
                <c:pt idx="1">
                  <c:v>2.6216652578176778E-3</c:v>
                </c:pt>
                <c:pt idx="2">
                  <c:v>6.8813768269841789E-3</c:v>
                </c:pt>
                <c:pt idx="3">
                  <c:v>1.9313076047312357E-2</c:v>
                </c:pt>
                <c:pt idx="4">
                  <c:v>5.9162059019161078E-2</c:v>
                </c:pt>
                <c:pt idx="5">
                  <c:v>4.4697087908297004E-2</c:v>
                </c:pt>
                <c:pt idx="6">
                  <c:v>8.05434862003368E-2</c:v>
                </c:pt>
                <c:pt idx="7">
                  <c:v>9.6683826452971466E-2</c:v>
                </c:pt>
                <c:pt idx="8">
                  <c:v>2.1977141727396746E-2</c:v>
                </c:pt>
                <c:pt idx="9">
                  <c:v>6.9273703624169142E-4</c:v>
                </c:pt>
                <c:pt idx="10">
                  <c:v>1.740888632553908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2.5949374037325524E-3</c:v>
                </c:pt>
                <c:pt idx="3">
                  <c:v>6.233114428646462E-4</c:v>
                </c:pt>
                <c:pt idx="4">
                  <c:v>4.2691263506870947E-4</c:v>
                </c:pt>
                <c:pt idx="5">
                  <c:v>1.7075603726103231E-3</c:v>
                </c:pt>
                <c:pt idx="6">
                  <c:v>1.3049926210790099E-3</c:v>
                </c:pt>
                <c:pt idx="7">
                  <c:v>3.7374453208120452E-3</c:v>
                </c:pt>
                <c:pt idx="8">
                  <c:v>4.400693321424958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1537510215676431E-2</c:v>
                </c:pt>
                <c:pt idx="1">
                  <c:v>2.245484194824259E-3</c:v>
                </c:pt>
                <c:pt idx="2">
                  <c:v>4.1883412683697187E-3</c:v>
                </c:pt>
                <c:pt idx="3">
                  <c:v>1.2191051165558265E-2</c:v>
                </c:pt>
                <c:pt idx="4">
                  <c:v>4.0898355773922319E-2</c:v>
                </c:pt>
                <c:pt idx="5">
                  <c:v>3.0289510317929907E-2</c:v>
                </c:pt>
                <c:pt idx="6">
                  <c:v>3.5259635850915266E-2</c:v>
                </c:pt>
                <c:pt idx="7">
                  <c:v>5.7459709256012202E-2</c:v>
                </c:pt>
                <c:pt idx="8">
                  <c:v>0.11288499469595145</c:v>
                </c:pt>
                <c:pt idx="9">
                  <c:v>8.779489367640271E-2</c:v>
                </c:pt>
                <c:pt idx="10">
                  <c:v>5.25332167691386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0023395627692385E-5</c:v>
                </c:pt>
                <c:pt idx="1">
                  <c:v>9.890183701624949E-5</c:v>
                </c:pt>
                <c:pt idx="2">
                  <c:v>2.5375316005909283E-4</c:v>
                </c:pt>
                <c:pt idx="3">
                  <c:v>2.0672345557806303E-4</c:v>
                </c:pt>
                <c:pt idx="4">
                  <c:v>3.8650890334395458E-4</c:v>
                </c:pt>
                <c:pt idx="5">
                  <c:v>1.3987878297801374E-2</c:v>
                </c:pt>
                <c:pt idx="6">
                  <c:v>6.1974615424122241E-3</c:v>
                </c:pt>
                <c:pt idx="7">
                  <c:v>2.1302252231527341E-3</c:v>
                </c:pt>
                <c:pt idx="8">
                  <c:v>8.5670317502451344E-4</c:v>
                </c:pt>
                <c:pt idx="10">
                  <c:v>5.865142890932853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87129324469408E-3</c:v>
                </c:pt>
                <c:pt idx="1">
                  <c:v>1.6332966891387361E-3</c:v>
                </c:pt>
                <c:pt idx="2">
                  <c:v>1.8461352102498892E-3</c:v>
                </c:pt>
                <c:pt idx="3">
                  <c:v>2.2267309927587398E-4</c:v>
                </c:pt>
                <c:pt idx="4">
                  <c:v>1.7034857202900685E-3</c:v>
                </c:pt>
                <c:pt idx="5">
                  <c:v>6.4881888472646063E-3</c:v>
                </c:pt>
                <c:pt idx="6">
                  <c:v>7.4645169868802234E-3</c:v>
                </c:pt>
                <c:pt idx="7">
                  <c:v>1.3014392047457924E-2</c:v>
                </c:pt>
                <c:pt idx="8">
                  <c:v>1.1484635620656504E-2</c:v>
                </c:pt>
                <c:pt idx="9">
                  <c:v>1.1462309026454202E-2</c:v>
                </c:pt>
                <c:pt idx="10">
                  <c:v>7.856935023616200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069344059162479E-2</c:v>
                </c:pt>
                <c:pt idx="1">
                  <c:v>1.241312550523597E-2</c:v>
                </c:pt>
                <c:pt idx="2">
                  <c:v>1.9421888295359201E-2</c:v>
                </c:pt>
                <c:pt idx="3">
                  <c:v>2.9056141178493908E-2</c:v>
                </c:pt>
                <c:pt idx="4">
                  <c:v>4.35869371207733E-2</c:v>
                </c:pt>
                <c:pt idx="5">
                  <c:v>4.3609350538333015E-2</c:v>
                </c:pt>
                <c:pt idx="6">
                  <c:v>6.4584056187358879E-2</c:v>
                </c:pt>
                <c:pt idx="7">
                  <c:v>8.8097242448428995E-2</c:v>
                </c:pt>
                <c:pt idx="8">
                  <c:v>8.2373587029365772E-2</c:v>
                </c:pt>
                <c:pt idx="9">
                  <c:v>1.6835589880002975E-2</c:v>
                </c:pt>
                <c:pt idx="10">
                  <c:v>7.95393420714671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625455076117907E-6</c:v>
                </c:pt>
                <c:pt idx="4">
                  <c:v>1.09107021922553E-6</c:v>
                </c:pt>
                <c:pt idx="6">
                  <c:v>1.656315904563389E-3</c:v>
                </c:pt>
                <c:pt idx="7">
                  <c:v>2.7966411695679438E-3</c:v>
                </c:pt>
                <c:pt idx="8">
                  <c:v>0.20854387422975434</c:v>
                </c:pt>
                <c:pt idx="9">
                  <c:v>3.6684155452604165E-2</c:v>
                </c:pt>
                <c:pt idx="10">
                  <c:v>0.3011887787663872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045150282728384E-6</c:v>
                </c:pt>
                <c:pt idx="2">
                  <c:v>4.421330300129599E-7</c:v>
                </c:pt>
                <c:pt idx="6">
                  <c:v>2.8195351031091307E-2</c:v>
                </c:pt>
                <c:pt idx="7">
                  <c:v>7.4512437088035413E-2</c:v>
                </c:pt>
                <c:pt idx="8">
                  <c:v>7.8442956937783206E-8</c:v>
                </c:pt>
                <c:pt idx="9">
                  <c:v>0.1412042682552877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195949308392695E-6</c:v>
                </c:pt>
                <c:pt idx="6">
                  <c:v>4.9095307393987487E-4</c:v>
                </c:pt>
                <c:pt idx="7">
                  <c:v>5.9047080093567903E-3</c:v>
                </c:pt>
                <c:pt idx="9">
                  <c:v>3.56887143290636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643934525289756E-3</c:v>
                </c:pt>
                <c:pt idx="2">
                  <c:v>2.9228516085740949E-2</c:v>
                </c:pt>
                <c:pt idx="3">
                  <c:v>3.1519021903612604E-3</c:v>
                </c:pt>
                <c:pt idx="4">
                  <c:v>1.5767262542187337E-2</c:v>
                </c:pt>
                <c:pt idx="5">
                  <c:v>1.4096812643019338E-2</c:v>
                </c:pt>
                <c:pt idx="6">
                  <c:v>4.2439707744932713E-3</c:v>
                </c:pt>
                <c:pt idx="7">
                  <c:v>8.1420031170663862E-2</c:v>
                </c:pt>
                <c:pt idx="8">
                  <c:v>7.879808959737427E-3</c:v>
                </c:pt>
                <c:pt idx="9">
                  <c:v>7.0384725906901847E-4</c:v>
                </c:pt>
                <c:pt idx="10">
                  <c:v>2.380893497797692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070636178401637E-3</c:v>
                </c:pt>
                <c:pt idx="1">
                  <c:v>2.8111852108087237E-3</c:v>
                </c:pt>
                <c:pt idx="2">
                  <c:v>1.1733795016715527E-2</c:v>
                </c:pt>
                <c:pt idx="3">
                  <c:v>7.5748521230272065E-3</c:v>
                </c:pt>
                <c:pt idx="4">
                  <c:v>1.9009215663064603E-2</c:v>
                </c:pt>
                <c:pt idx="5">
                  <c:v>1.1686734111054545E-2</c:v>
                </c:pt>
                <c:pt idx="6">
                  <c:v>4.4282416000018393E-2</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7">
                  <c:v>2.7049562776030312E-2</c:v>
                </c:pt>
                <c:pt idx="8">
                  <c:v>4.2746587078764671E-2</c:v>
                </c:pt>
                <c:pt idx="9">
                  <c:v>0.27813644559724826</c:v>
                </c:pt>
                <c:pt idx="10">
                  <c:v>0.1628828510979154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2928820236534203E-5</c:v>
                </c:pt>
                <c:pt idx="2">
                  <c:v>4.7118367084257985E-6</c:v>
                </c:pt>
                <c:pt idx="4">
                  <c:v>3.4187823005025577E-3</c:v>
                </c:pt>
                <c:pt idx="5">
                  <c:v>3.8619822582109498E-4</c:v>
                </c:pt>
                <c:pt idx="6">
                  <c:v>2.2537117206363508E-2</c:v>
                </c:pt>
                <c:pt idx="7">
                  <c:v>5.0549503590764343E-2</c:v>
                </c:pt>
                <c:pt idx="8">
                  <c:v>6.4183490413710756E-2</c:v>
                </c:pt>
                <c:pt idx="9">
                  <c:v>0.1155602086539201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5.3117914288242588E-3</c:v>
                </c:pt>
                <c:pt idx="8">
                  <c:v>1.1739368774773056E-4</c:v>
                </c:pt>
                <c:pt idx="9">
                  <c:v>9.02657475903552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6.3941347976036291E-3</c:v>
                </c:pt>
                <c:pt idx="1">
                  <c:v>2.8111852108087237E-3</c:v>
                </c:pt>
                <c:pt idx="2">
                  <c:v>1.1729083180007101E-2</c:v>
                </c:pt>
                <c:pt idx="3">
                  <c:v>7.5748521230272056E-3</c:v>
                </c:pt>
                <c:pt idx="4">
                  <c:v>1.5590433362562044E-2</c:v>
                </c:pt>
                <c:pt idx="5">
                  <c:v>1.1300535885233449E-2</c:v>
                </c:pt>
                <c:pt idx="6">
                  <c:v>2.1745298793654881E-2</c:v>
                </c:pt>
                <c:pt idx="7">
                  <c:v>5.1902662647431645E-2</c:v>
                </c:pt>
                <c:pt idx="8">
                  <c:v>5.3309260827743296E-3</c:v>
                </c:pt>
                <c:pt idx="10">
                  <c:v>2.45756761198369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8030213217652804E-3</c:v>
                </c:pt>
                <c:pt idx="1">
                  <c:v>1.1362180091267829E-3</c:v>
                </c:pt>
                <c:pt idx="2">
                  <c:v>3.9025085112910272E-2</c:v>
                </c:pt>
                <c:pt idx="3">
                  <c:v>1.0743820448448566E-2</c:v>
                </c:pt>
                <c:pt idx="4">
                  <c:v>8.5138449354333519E-3</c:v>
                </c:pt>
                <c:pt idx="5">
                  <c:v>1.0761112831630315E-2</c:v>
                </c:pt>
                <c:pt idx="6">
                  <c:v>7.763991842218361E-2</c:v>
                </c:pt>
                <c:pt idx="7">
                  <c:v>0.17609201899160237</c:v>
                </c:pt>
                <c:pt idx="8">
                  <c:v>0.21875489647669405</c:v>
                </c:pt>
                <c:pt idx="9">
                  <c:v>0.24424792129717071</c:v>
                </c:pt>
                <c:pt idx="10">
                  <c:v>0.2072821421530346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3.0818108640738497E-6</c:v>
                </c:pt>
                <c:pt idx="8">
                  <c:v>0.20184913788195871</c:v>
                </c:pt>
                <c:pt idx="9">
                  <c:v>5.4465299965349601E-2</c:v>
                </c:pt>
                <c:pt idx="10">
                  <c:v>0.203346555538469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3551789018315117E-4</c:v>
                </c:pt>
                <c:pt idx="6">
                  <c:v>6.7900226144993317E-2</c:v>
                </c:pt>
                <c:pt idx="7">
                  <c:v>0.10057367053176161</c:v>
                </c:pt>
                <c:pt idx="8">
                  <c:v>1.9984972747803345E-3</c:v>
                </c:pt>
                <c:pt idx="9">
                  <c:v>0.1897773423039521</c:v>
                </c:pt>
                <c:pt idx="10">
                  <c:v>3.933475003417814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5350938786647117E-3</c:v>
                </c:pt>
                <c:pt idx="2">
                  <c:v>2.4527162467447301E-2</c:v>
                </c:pt>
                <c:pt idx="3">
                  <c:v>8.811268219102256E-3</c:v>
                </c:pt>
                <c:pt idx="4">
                  <c:v>4.7982939095056491E-3</c:v>
                </c:pt>
                <c:pt idx="5">
                  <c:v>3.2719414732157392E-3</c:v>
                </c:pt>
                <c:pt idx="6">
                  <c:v>7.4973039148614369E-3</c:v>
                </c:pt>
                <c:pt idx="7">
                  <c:v>1.525713245888472E-2</c:v>
                </c:pt>
                <c:pt idx="8">
                  <c:v>4.12643060585177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679274431005687E-3</c:v>
                </c:pt>
                <c:pt idx="1">
                  <c:v>1.1362180091267829E-3</c:v>
                </c:pt>
                <c:pt idx="2">
                  <c:v>1.4497922645462971E-2</c:v>
                </c:pt>
                <c:pt idx="3">
                  <c:v>1.9325522293463099E-3</c:v>
                </c:pt>
                <c:pt idx="4">
                  <c:v>3.7155510259277028E-3</c:v>
                </c:pt>
                <c:pt idx="5">
                  <c:v>7.1536534682314244E-3</c:v>
                </c:pt>
                <c:pt idx="6">
                  <c:v>2.2393065514647718E-3</c:v>
                </c:pt>
                <c:pt idx="7">
                  <c:v>6.0261216000956047E-2</c:v>
                </c:pt>
                <c:pt idx="8">
                  <c:v>1.0780830714103231E-2</c:v>
                </c:pt>
                <c:pt idx="9">
                  <c:v>5.2790278690153906E-6</c:v>
                </c:pt>
                <c:pt idx="10">
                  <c:v>2.111611147606156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8479999999999999</c:v>
                </c:pt>
                <c:pt idx="3">
                  <c:v>4.4400000000000002E-2</c:v>
                </c:pt>
                <c:pt idx="4">
                  <c:v>3.04E-2</c:v>
                </c:pt>
                <c:pt idx="5">
                  <c:v>0.1216</c:v>
                </c:pt>
                <c:pt idx="6">
                  <c:v>7.7700000000000005E-2</c:v>
                </c:pt>
                <c:pt idx="7">
                  <c:v>0.25459999999999999</c:v>
                </c:pt>
                <c:pt idx="8">
                  <c:v>0.2866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452095700271858E-2</c:v>
                </c:pt>
                <c:pt idx="1">
                  <c:v>6.9038415366902443E-3</c:v>
                </c:pt>
                <c:pt idx="2">
                  <c:v>3.8993138108884502E-2</c:v>
                </c:pt>
                <c:pt idx="3">
                  <c:v>9.2885754275378318E-2</c:v>
                </c:pt>
                <c:pt idx="4">
                  <c:v>0.12661389106941554</c:v>
                </c:pt>
                <c:pt idx="5">
                  <c:v>0.14139828617238459</c:v>
                </c:pt>
                <c:pt idx="6">
                  <c:v>8.327672553420401E-2</c:v>
                </c:pt>
                <c:pt idx="7">
                  <c:v>0.25943750265456544</c:v>
                </c:pt>
                <c:pt idx="8">
                  <c:v>0.16769832304927204</c:v>
                </c:pt>
                <c:pt idx="9">
                  <c:v>5.0813195599909045E-2</c:v>
                </c:pt>
                <c:pt idx="10">
                  <c:v>3.527246299024460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7256199349716392E-2</c:v>
                </c:pt>
                <c:pt idx="3">
                  <c:v>8.9490464544238445E-3</c:v>
                </c:pt>
                <c:pt idx="4">
                  <c:v>6.129297074432178E-3</c:v>
                </c:pt>
                <c:pt idx="5">
                  <c:v>2.4515893736835173E-2</c:v>
                </c:pt>
                <c:pt idx="6">
                  <c:v>1.5661540441294683E-2</c:v>
                </c:pt>
                <c:pt idx="7">
                  <c:v>5.1338440136598447E-2</c:v>
                </c:pt>
                <c:pt idx="8">
                  <c:v>5.778867381508910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8348675945187E-2</c:v>
                </c:pt>
                <c:pt idx="1">
                  <c:v>6.9038415366902443E-3</c:v>
                </c:pt>
                <c:pt idx="2">
                  <c:v>1.7361982186284391E-3</c:v>
                </c:pt>
                <c:pt idx="3">
                  <c:v>1.8755435712991535E-3</c:v>
                </c:pt>
                <c:pt idx="4">
                  <c:v>0.10477416679766324</c:v>
                </c:pt>
                <c:pt idx="5">
                  <c:v>5.0671865007636957E-3</c:v>
                </c:pt>
                <c:pt idx="6">
                  <c:v>2.6783593228682716E-2</c:v>
                </c:pt>
                <c:pt idx="7">
                  <c:v>6.6655607066131453E-2</c:v>
                </c:pt>
                <c:pt idx="8">
                  <c:v>4.4421204234486155E-3</c:v>
                </c:pt>
                <c:pt idx="10">
                  <c:v>2.58592693637560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4054053967207621E-7</c:v>
                </c:pt>
                <c:pt idx="3">
                  <c:v>8.2060798596221757E-2</c:v>
                </c:pt>
                <c:pt idx="4">
                  <c:v>1.3735802625934962E-2</c:v>
                </c:pt>
                <c:pt idx="5">
                  <c:v>6.1588706809217263E-2</c:v>
                </c:pt>
                <c:pt idx="6">
                  <c:v>2.3195070431785789E-2</c:v>
                </c:pt>
                <c:pt idx="7">
                  <c:v>5.9000565638160689E-2</c:v>
                </c:pt>
                <c:pt idx="8">
                  <c:v>2.4630784631086092E-2</c:v>
                </c:pt>
                <c:pt idx="9">
                  <c:v>3.3171045320672899E-5</c:v>
                </c:pt>
                <c:pt idx="10">
                  <c:v>5.698653359900480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236787063778384E-3</c:v>
                </c:pt>
                <c:pt idx="5">
                  <c:v>9.3823032982912943E-3</c:v>
                </c:pt>
                <c:pt idx="6">
                  <c:v>5.4704191349204496E-3</c:v>
                </c:pt>
                <c:pt idx="7">
                  <c:v>6.9353981666997425E-2</c:v>
                </c:pt>
                <c:pt idx="8">
                  <c:v>4.7075678262511508E-2</c:v>
                </c:pt>
                <c:pt idx="9">
                  <c:v>4.8835529456781143E-2</c:v>
                </c:pt>
                <c:pt idx="10">
                  <c:v>3.211667071787894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7470243266699317E-6</c:v>
                </c:pt>
                <c:pt idx="3">
                  <c:v>3.6565343355379327E-7</c:v>
                </c:pt>
                <c:pt idx="4">
                  <c:v>5.0945865007315628E-5</c:v>
                </c:pt>
                <c:pt idx="5">
                  <c:v>4.0844195827277142E-2</c:v>
                </c:pt>
                <c:pt idx="6">
                  <c:v>1.2166102297520376E-2</c:v>
                </c:pt>
                <c:pt idx="7">
                  <c:v>1.3088908146677429E-2</c:v>
                </c:pt>
                <c:pt idx="8">
                  <c:v>3.3761065917136714E-2</c:v>
                </c:pt>
                <c:pt idx="9">
                  <c:v>1.94449509780722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285</c:v>
                </c:pt>
                <c:pt idx="3">
                  <c:v>0.14899999999999999</c:v>
                </c:pt>
                <c:pt idx="4">
                  <c:v>2.6499999999999999E-2</c:v>
                </c:pt>
                <c:pt idx="5">
                  <c:v>0.106</c:v>
                </c:pt>
                <c:pt idx="6">
                  <c:v>9.4100000000000003E-2</c:v>
                </c:pt>
                <c:pt idx="7">
                  <c:v>0.25729999999999997</c:v>
                </c:pt>
                <c:pt idx="8">
                  <c:v>0.238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381</c:v>
                </c:pt>
                <c:pt idx="3">
                  <c:v>0.16009999999999999</c:v>
                </c:pt>
                <c:pt idx="4">
                  <c:v>2.8400000000000002E-2</c:v>
                </c:pt>
                <c:pt idx="5">
                  <c:v>0.1139</c:v>
                </c:pt>
                <c:pt idx="6">
                  <c:v>7.6999999999999999E-2</c:v>
                </c:pt>
                <c:pt idx="7">
                  <c:v>0.24329999999999999</c:v>
                </c:pt>
                <c:pt idx="8">
                  <c:v>0.239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8613377585847987E-2</c:v>
                </c:pt>
                <c:pt idx="1">
                  <c:v>1.56302030123537E-2</c:v>
                </c:pt>
                <c:pt idx="2">
                  <c:v>3.5294981321742719E-2</c:v>
                </c:pt>
                <c:pt idx="3">
                  <c:v>0.17153808610810198</c:v>
                </c:pt>
                <c:pt idx="4">
                  <c:v>0.13353047605469773</c:v>
                </c:pt>
                <c:pt idx="5">
                  <c:v>0.12917153792881839</c:v>
                </c:pt>
                <c:pt idx="6">
                  <c:v>7.2507313656684891E-2</c:v>
                </c:pt>
                <c:pt idx="7">
                  <c:v>0.21110141717184974</c:v>
                </c:pt>
                <c:pt idx="8">
                  <c:v>0.1733531988133058</c:v>
                </c:pt>
                <c:pt idx="9">
                  <c:v>1.9940538619508948E-2</c:v>
                </c:pt>
                <c:pt idx="10">
                  <c:v>9.318869727088100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9284107444051948E-7</c:v>
                </c:pt>
                <c:pt idx="1">
                  <c:v>1.3956839788943221E-5</c:v>
                </c:pt>
                <c:pt idx="2">
                  <c:v>3.0743646429186058E-2</c:v>
                </c:pt>
                <c:pt idx="3">
                  <c:v>3.564450001734381E-2</c:v>
                </c:pt>
                <c:pt idx="4">
                  <c:v>6.3327037131317649E-3</c:v>
                </c:pt>
                <c:pt idx="5">
                  <c:v>2.5358413952695731E-2</c:v>
                </c:pt>
                <c:pt idx="6">
                  <c:v>1.714739853104838E-2</c:v>
                </c:pt>
                <c:pt idx="7">
                  <c:v>5.4161420006419936E-2</c:v>
                </c:pt>
                <c:pt idx="8">
                  <c:v>5.3248888056162243E-2</c:v>
                </c:pt>
                <c:pt idx="9">
                  <c:v>3.4603735013908812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856614831110494E-5</c:v>
                </c:pt>
                <c:pt idx="1">
                  <c:v>5.0857004490138715E-6</c:v>
                </c:pt>
                <c:pt idx="2">
                  <c:v>3.5264351773265254E-5</c:v>
                </c:pt>
                <c:pt idx="3">
                  <c:v>0.13356059179014013</c:v>
                </c:pt>
                <c:pt idx="4">
                  <c:v>3.2745011116607166E-2</c:v>
                </c:pt>
                <c:pt idx="5">
                  <c:v>4.5656346239016515E-2</c:v>
                </c:pt>
                <c:pt idx="6">
                  <c:v>2.2933793156152984E-2</c:v>
                </c:pt>
                <c:pt idx="7">
                  <c:v>5.3053670560782258E-2</c:v>
                </c:pt>
                <c:pt idx="8">
                  <c:v>1.6505258068993306E-2</c:v>
                </c:pt>
                <c:pt idx="9">
                  <c:v>1.4804683726685523E-2</c:v>
                </c:pt>
                <c:pt idx="10">
                  <c:v>1.695163576469242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591776466415062E-2</c:v>
                </c:pt>
                <c:pt idx="1">
                  <c:v>1.5611160472115745E-2</c:v>
                </c:pt>
                <c:pt idx="2">
                  <c:v>4.5091497937806138E-3</c:v>
                </c:pt>
                <c:pt idx="3">
                  <c:v>2.2503123458954121E-3</c:v>
                </c:pt>
                <c:pt idx="4">
                  <c:v>9.2942297705621374E-2</c:v>
                </c:pt>
                <c:pt idx="5">
                  <c:v>5.9604618982048718E-3</c:v>
                </c:pt>
                <c:pt idx="6">
                  <c:v>3.4556862681935428E-3</c:v>
                </c:pt>
                <c:pt idx="7">
                  <c:v>3.8628411545534092E-2</c:v>
                </c:pt>
                <c:pt idx="8">
                  <c:v>4.4743153671999457E-2</c:v>
                </c:pt>
                <c:pt idx="10">
                  <c:v>4.354093602977380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4.1209902607473226E-6</c:v>
                </c:pt>
                <c:pt idx="5">
                  <c:v>2.1621063767469275E-2</c:v>
                </c:pt>
                <c:pt idx="6">
                  <c:v>8.9742060403692619E-3</c:v>
                </c:pt>
                <c:pt idx="7">
                  <c:v>3.1776012162394951E-2</c:v>
                </c:pt>
                <c:pt idx="8">
                  <c:v>3.6309541860389913E-2</c:v>
                </c:pt>
                <c:pt idx="9">
                  <c:v>5.1323840333417263E-3</c:v>
                </c:pt>
                <c:pt idx="10">
                  <c:v>8.71394400914343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516635273738823E-7</c:v>
                </c:pt>
                <c:pt idx="2">
                  <c:v>6.9207470027817628E-6</c:v>
                </c:pt>
                <c:pt idx="3">
                  <c:v>8.2681954722627565E-5</c:v>
                </c:pt>
                <c:pt idx="4">
                  <c:v>1.5063425290766795E-3</c:v>
                </c:pt>
                <c:pt idx="5">
                  <c:v>3.0575252071432007E-2</c:v>
                </c:pt>
                <c:pt idx="6">
                  <c:v>1.9996229660920725E-2</c:v>
                </c:pt>
                <c:pt idx="7">
                  <c:v>3.3481902896718506E-2</c:v>
                </c:pt>
                <c:pt idx="8">
                  <c:v>2.254635715576089E-2</c:v>
                </c:pt>
                <c:pt idx="9">
                  <c:v>3.124822131559038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5000000000000001E-3</c:v>
                </c:pt>
                <c:pt idx="1">
                  <c:v>8.0600000000000005E-2</c:v>
                </c:pt>
                <c:pt idx="2">
                  <c:v>0.14369999999999999</c:v>
                </c:pt>
                <c:pt idx="4">
                  <c:v>8.9999999999999998E-4</c:v>
                </c:pt>
                <c:pt idx="5">
                  <c:v>0.1731</c:v>
                </c:pt>
                <c:pt idx="6">
                  <c:v>0.13220000000000001</c:v>
                </c:pt>
                <c:pt idx="7">
                  <c:v>0.20599999999999999</c:v>
                </c:pt>
                <c:pt idx="8">
                  <c:v>0.26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9437627523840919E-2</c:v>
                </c:pt>
                <c:pt idx="1">
                  <c:v>1.7339094554510329E-2</c:v>
                </c:pt>
                <c:pt idx="2">
                  <c:v>4.8088716519655232E-2</c:v>
                </c:pt>
                <c:pt idx="3">
                  <c:v>0.20562364600569663</c:v>
                </c:pt>
                <c:pt idx="4">
                  <c:v>6.6748547419724566E-2</c:v>
                </c:pt>
                <c:pt idx="5">
                  <c:v>0.12200576981432011</c:v>
                </c:pt>
                <c:pt idx="6">
                  <c:v>4.6184937163428488E-2</c:v>
                </c:pt>
                <c:pt idx="7">
                  <c:v>0.2232454479683828</c:v>
                </c:pt>
                <c:pt idx="8">
                  <c:v>0.15135974545254935</c:v>
                </c:pt>
                <c:pt idx="9">
                  <c:v>8.95997801345450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4718342014114258E-4</c:v>
                </c:pt>
                <c:pt idx="1">
                  <c:v>1.7339094554510329E-2</c:v>
                </c:pt>
                <c:pt idx="2">
                  <c:v>3.0917818303169083E-2</c:v>
                </c:pt>
                <c:pt idx="4">
                  <c:v>1.9132431895118571E-4</c:v>
                </c:pt>
                <c:pt idx="5">
                  <c:v>3.7265307107165531E-2</c:v>
                </c:pt>
                <c:pt idx="6">
                  <c:v>2.8448033461384293E-2</c:v>
                </c:pt>
                <c:pt idx="7">
                  <c:v>4.4328122572103452E-2</c:v>
                </c:pt>
                <c:pt idx="8">
                  <c:v>5.598903528938735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4747136481628206E-2</c:v>
                </c:pt>
                <c:pt idx="2">
                  <c:v>1.3625819773384115E-3</c:v>
                </c:pt>
                <c:pt idx="3">
                  <c:v>0.12608331685803781</c:v>
                </c:pt>
                <c:pt idx="4">
                  <c:v>1.1732619958943502E-2</c:v>
                </c:pt>
                <c:pt idx="5">
                  <c:v>6.2114905007134369E-3</c:v>
                </c:pt>
                <c:pt idx="6">
                  <c:v>2.029408133441467E-3</c:v>
                </c:pt>
                <c:pt idx="7">
                  <c:v>3.6855776457379794E-2</c:v>
                </c:pt>
                <c:pt idx="8">
                  <c:v>4.412497174304146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9433076220715705E-3</c:v>
                </c:pt>
                <c:pt idx="2">
                  <c:v>1.5808316239147732E-2</c:v>
                </c:pt>
                <c:pt idx="3">
                  <c:v>7.9539672848540577E-2</c:v>
                </c:pt>
                <c:pt idx="4">
                  <c:v>4.6158947718345923E-2</c:v>
                </c:pt>
                <c:pt idx="5">
                  <c:v>3.5006207408320195E-2</c:v>
                </c:pt>
                <c:pt idx="6">
                  <c:v>1.0506928851688921E-2</c:v>
                </c:pt>
                <c:pt idx="7">
                  <c:v>9.1024631772222628E-2</c:v>
                </c:pt>
                <c:pt idx="8">
                  <c:v>1.4093734792729056E-2</c:v>
                </c:pt>
                <c:pt idx="9">
                  <c:v>1.3257242188576946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569840425069714E-6</c:v>
                </c:pt>
                <c:pt idx="6">
                  <c:v>5.9329440289473069E-6</c:v>
                </c:pt>
                <c:pt idx="7">
                  <c:v>4.9444538616075701E-2</c:v>
                </c:pt>
                <c:pt idx="8">
                  <c:v>8.8206601492313936E-6</c:v>
                </c:pt>
                <c:pt idx="9">
                  <c:v>8.95984544103261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6.5629911824638341E-7</c:v>
                </c:pt>
                <c:pt idx="4">
                  <c:v>8.6656554234839627E-3</c:v>
                </c:pt>
                <c:pt idx="5">
                  <c:v>4.3521307814078439E-2</c:v>
                </c:pt>
                <c:pt idx="6">
                  <c:v>5.1946337728848548E-3</c:v>
                </c:pt>
                <c:pt idx="7">
                  <c:v>1.5923785506012002E-3</c:v>
                </c:pt>
                <c:pt idx="8">
                  <c:v>3.71431829672422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28499999999999998</c:v>
                </c:pt>
                <c:pt idx="7">
                  <c:v>0.21510000000000001</c:v>
                </c:pt>
                <c:pt idx="8">
                  <c:v>0.4999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4769638345262747E-2</c:v>
                </c:pt>
                <c:pt idx="2">
                  <c:v>2.317484993668747E-3</c:v>
                </c:pt>
                <c:pt idx="3">
                  <c:v>5.4889790522628559E-2</c:v>
                </c:pt>
                <c:pt idx="4">
                  <c:v>2.1417360193585859E-2</c:v>
                </c:pt>
                <c:pt idx="5">
                  <c:v>5.4955204292333013E-2</c:v>
                </c:pt>
                <c:pt idx="6">
                  <c:v>0.14927649358998393</c:v>
                </c:pt>
                <c:pt idx="7">
                  <c:v>0.13228898853114029</c:v>
                </c:pt>
                <c:pt idx="8">
                  <c:v>0.31299544147474445</c:v>
                </c:pt>
                <c:pt idx="9">
                  <c:v>0.14351406891192672</c:v>
                </c:pt>
                <c:pt idx="10">
                  <c:v>0.1132503095121440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2.4908684377817599E-3</c:v>
                </c:pt>
                <c:pt idx="7">
                  <c:v>1.8803922850693005E-3</c:v>
                </c:pt>
                <c:pt idx="8">
                  <c:v>4.369324731405162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6.758116748491954E-3</c:v>
                </c:pt>
                <c:pt idx="7">
                  <c:v>7.6793479547296914E-4</c:v>
                </c:pt>
                <c:pt idx="8">
                  <c:v>2.2935538054355796E-2</c:v>
                </c:pt>
                <c:pt idx="9">
                  <c:v>7.3022660437260606E-2</c:v>
                </c:pt>
                <c:pt idx="10">
                  <c:v>0.105464844091205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1985164985288267E-2</c:v>
                </c:pt>
                <c:pt idx="2">
                  <c:v>1.2722889935880576E-3</c:v>
                </c:pt>
                <c:pt idx="3">
                  <c:v>4.111799119349209E-2</c:v>
                </c:pt>
                <c:pt idx="4">
                  <c:v>1.964400100591961E-2</c:v>
                </c:pt>
                <c:pt idx="5">
                  <c:v>3.6843658710064488E-2</c:v>
                </c:pt>
                <c:pt idx="6">
                  <c:v>5.2783186464269542E-2</c:v>
                </c:pt>
                <c:pt idx="7">
                  <c:v>1.9659083486418913E-2</c:v>
                </c:pt>
                <c:pt idx="8">
                  <c:v>9.88960655107667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2.5625255554798197E-4</c:v>
                </c:pt>
                <c:pt idx="5">
                  <c:v>8.6256453129647838E-3</c:v>
                </c:pt>
                <c:pt idx="6">
                  <c:v>1.1454911291099035E-2</c:v>
                </c:pt>
                <c:pt idx="7">
                  <c:v>2.2883483224079806E-2</c:v>
                </c:pt>
                <c:pt idx="8">
                  <c:v>5.3296031196739709E-2</c:v>
                </c:pt>
                <c:pt idx="9">
                  <c:v>7.2520189866062349E-3</c:v>
                </c:pt>
                <c:pt idx="10">
                  <c:v>8.01316434685394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2.7844733599744808E-3</c:v>
                </c:pt>
                <c:pt idx="2">
                  <c:v>1.0451960000806893E-3</c:v>
                </c:pt>
                <c:pt idx="3">
                  <c:v>1.3771799329136473E-2</c:v>
                </c:pt>
                <c:pt idx="4">
                  <c:v>1.517106632118266E-3</c:v>
                </c:pt>
                <c:pt idx="5">
                  <c:v>9.485900269303741E-3</c:v>
                </c:pt>
                <c:pt idx="6">
                  <c:v>7.5789410648341646E-2</c:v>
                </c:pt>
                <c:pt idx="7">
                  <c:v>8.7098094740099302E-2</c:v>
                </c:pt>
                <c:pt idx="8">
                  <c:v>0.13349848198147701</c:v>
                </c:pt>
                <c:pt idx="9">
                  <c:v>6.3239389488059877E-2</c:v>
                </c:pt>
                <c:pt idx="10">
                  <c:v>6.98414898625346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32379999999999998</c:v>
                </c:pt>
                <c:pt idx="7">
                  <c:v>0.4461</c:v>
                </c:pt>
                <c:pt idx="8">
                  <c:v>0.23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069714754673051E-2</c:v>
                </c:pt>
                <c:pt idx="1">
                  <c:v>2.7620932864173206E-2</c:v>
                </c:pt>
                <c:pt idx="2">
                  <c:v>3.321975086399976E-2</c:v>
                </c:pt>
                <c:pt idx="3">
                  <c:v>5.0673883901639509E-2</c:v>
                </c:pt>
                <c:pt idx="4">
                  <c:v>8.0498478937970977E-2</c:v>
                </c:pt>
                <c:pt idx="5">
                  <c:v>0.11300954238676617</c:v>
                </c:pt>
                <c:pt idx="6">
                  <c:v>0.13054828460312656</c:v>
                </c:pt>
                <c:pt idx="7">
                  <c:v>0.16999688993527615</c:v>
                </c:pt>
                <c:pt idx="8">
                  <c:v>0.17596357403605906</c:v>
                </c:pt>
                <c:pt idx="9">
                  <c:v>0.1247508482589552</c:v>
                </c:pt>
                <c:pt idx="10">
                  <c:v>2.30206666653028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0921024996954196E-3</c:v>
                </c:pt>
                <c:pt idx="1">
                  <c:v>2.2013794513369753E-2</c:v>
                </c:pt>
                <c:pt idx="2">
                  <c:v>6.0164729451450899E-3</c:v>
                </c:pt>
                <c:pt idx="3">
                  <c:v>5.9948371208162959E-2</c:v>
                </c:pt>
                <c:pt idx="4">
                  <c:v>2.3502461461467138E-2</c:v>
                </c:pt>
                <c:pt idx="5">
                  <c:v>7.9254515665220515E-2</c:v>
                </c:pt>
                <c:pt idx="6">
                  <c:v>0.10057809753875296</c:v>
                </c:pt>
                <c:pt idx="7">
                  <c:v>0.25267661121730911</c:v>
                </c:pt>
                <c:pt idx="8">
                  <c:v>0.2504997063205352</c:v>
                </c:pt>
                <c:pt idx="9">
                  <c:v>0.15719468225499189</c:v>
                </c:pt>
                <c:pt idx="10">
                  <c:v>4.722318437535000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4.5806044136491907E-3</c:v>
                </c:pt>
                <c:pt idx="7">
                  <c:v>6.3101836833592551E-3</c:v>
                </c:pt>
                <c:pt idx="8">
                  <c:v>3.25466631360499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8.0028603535492416E-4</c:v>
                </c:pt>
                <c:pt idx="7">
                  <c:v>1.0742766677238561E-2</c:v>
                </c:pt>
                <c:pt idx="8">
                  <c:v>2.1433128089056962E-2</c:v>
                </c:pt>
                <c:pt idx="9">
                  <c:v>7.791538913009359E-2</c:v>
                </c:pt>
                <c:pt idx="10">
                  <c:v>3.967011577900203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t More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725635203864748E-4</c:v>
                </c:pt>
                <c:pt idx="1">
                  <c:v>1.4215372774110923E-2</c:v>
                </c:pt>
                <c:pt idx="2">
                  <c:v>4.8549256504206023E-3</c:v>
                </c:pt>
                <c:pt idx="3">
                  <c:v>4.262140340943385E-2</c:v>
                </c:pt>
                <c:pt idx="4">
                  <c:v>1.8334792981554462E-2</c:v>
                </c:pt>
                <c:pt idx="5">
                  <c:v>2.6101512439191687E-2</c:v>
                </c:pt>
                <c:pt idx="6">
                  <c:v>4.2468163801257251E-2</c:v>
                </c:pt>
                <c:pt idx="7">
                  <c:v>6.5960171015402719E-2</c:v>
                </c:pt>
                <c:pt idx="8">
                  <c:v>6.18025525965915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8421592720662911E-7</c:v>
                </c:pt>
                <c:pt idx="3">
                  <c:v>3.9207895083318342E-5</c:v>
                </c:pt>
                <c:pt idx="4">
                  <c:v>3.5994509643752759E-3</c:v>
                </c:pt>
                <c:pt idx="5">
                  <c:v>6.7906948442288109E-3</c:v>
                </c:pt>
                <c:pt idx="6">
                  <c:v>6.4855648512478995E-4</c:v>
                </c:pt>
                <c:pt idx="7">
                  <c:v>4.5601069406954228E-2</c:v>
                </c:pt>
                <c:pt idx="8">
                  <c:v>3.610527105383772E-2</c:v>
                </c:pt>
                <c:pt idx="9">
                  <c:v>1.5523163373035199E-2</c:v>
                </c:pt>
                <c:pt idx="10">
                  <c:v>3.788842610725780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8.4484614765677202E-4</c:v>
                </c:pt>
                <c:pt idx="1">
                  <c:v>7.7984217392588302E-3</c:v>
                </c:pt>
                <c:pt idx="2">
                  <c:v>1.1611630787972808E-3</c:v>
                </c:pt>
                <c:pt idx="3">
                  <c:v>1.7287759903645793E-2</c:v>
                </c:pt>
                <c:pt idx="4">
                  <c:v>1.5682175155374016E-3</c:v>
                </c:pt>
                <c:pt idx="5">
                  <c:v>4.6362308381800013E-2</c:v>
                </c:pt>
                <c:pt idx="6">
                  <c:v>5.208048680336682E-2</c:v>
                </c:pt>
                <c:pt idx="7">
                  <c:v>0.12406242043435431</c:v>
                </c:pt>
                <c:pt idx="8">
                  <c:v>0.12790408826744395</c:v>
                </c:pt>
                <c:pt idx="9">
                  <c:v>6.375612975186308E-2</c:v>
                </c:pt>
                <c:pt idx="10">
                  <c:v>3.764225985622193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84E-2</c:v>
                </c:pt>
                <c:pt idx="6">
                  <c:v>3.0800000000000001E-2</c:v>
                </c:pt>
                <c:pt idx="7">
                  <c:v>0.3725</c:v>
                </c:pt>
                <c:pt idx="8">
                  <c:v>0.5782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4188407897627199E-3</c:v>
                </c:pt>
                <c:pt idx="2">
                  <c:v>5.8871389526296255E-3</c:v>
                </c:pt>
                <c:pt idx="3">
                  <c:v>7.5686671135798342E-2</c:v>
                </c:pt>
                <c:pt idx="4">
                  <c:v>2.5428611936749682E-2</c:v>
                </c:pt>
                <c:pt idx="5">
                  <c:v>9.4776620778599371E-2</c:v>
                </c:pt>
                <c:pt idx="6">
                  <c:v>0.12887654807889964</c:v>
                </c:pt>
                <c:pt idx="7">
                  <c:v>0.13424372682216842</c:v>
                </c:pt>
                <c:pt idx="8">
                  <c:v>0.32910093090770842</c:v>
                </c:pt>
                <c:pt idx="9">
                  <c:v>0.10837235929418876</c:v>
                </c:pt>
                <c:pt idx="10">
                  <c:v>9.282381232509891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6313775777369459E-7</c:v>
                </c:pt>
                <c:pt idx="5">
                  <c:v>1.5579860362264909E-4</c:v>
                </c:pt>
                <c:pt idx="6">
                  <c:v>2.6059058427844523E-4</c:v>
                </c:pt>
                <c:pt idx="7">
                  <c:v>3.1476117564476908E-3</c:v>
                </c:pt>
                <c:pt idx="8">
                  <c:v>4.885331406743926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4.4176724581182049E-3</c:v>
                </c:pt>
                <c:pt idx="2">
                  <c:v>5.2222319407767429E-3</c:v>
                </c:pt>
                <c:pt idx="3">
                  <c:v>6.7782728626977706E-2</c:v>
                </c:pt>
                <c:pt idx="4">
                  <c:v>2.2670696674054521E-2</c:v>
                </c:pt>
                <c:pt idx="5">
                  <c:v>6.7396863418978353E-2</c:v>
                </c:pt>
                <c:pt idx="6">
                  <c:v>1.8634237148378224E-2</c:v>
                </c:pt>
                <c:pt idx="7">
                  <c:v>3.2490439942122321E-2</c:v>
                </c:pt>
                <c:pt idx="8">
                  <c:v>9.94331907442451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2.4687173939425898E-2</c:v>
                </c:pt>
                <c:pt idx="9">
                  <c:v>4.1754783607612346E-2</c:v>
                </c:pt>
                <c:pt idx="10">
                  <c:v>8.5981272801544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8616470086973345E-4</c:v>
                </c:pt>
                <c:pt idx="5">
                  <c:v>1.8966274896647383E-2</c:v>
                </c:pt>
                <c:pt idx="6">
                  <c:v>1.7261910588526542E-2</c:v>
                </c:pt>
                <c:pt idx="7">
                  <c:v>1.6312435879906873E-2</c:v>
                </c:pt>
                <c:pt idx="8">
                  <c:v>8.2470583566920719E-2</c:v>
                </c:pt>
                <c:pt idx="9">
                  <c:v>1.1400874901468067E-2</c:v>
                </c:pt>
                <c:pt idx="10">
                  <c:v>8.380937585092172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1683316445152039E-6</c:v>
                </c:pt>
                <c:pt idx="2">
                  <c:v>6.6490701185288245E-4</c:v>
                </c:pt>
                <c:pt idx="3">
                  <c:v>7.9039425088206407E-3</c:v>
                </c:pt>
                <c:pt idx="4">
                  <c:v>2.5714874240676529E-3</c:v>
                </c:pt>
                <c:pt idx="5">
                  <c:v>8.2576838593509741E-3</c:v>
                </c:pt>
                <c:pt idx="6">
                  <c:v>9.2719809757716432E-2</c:v>
                </c:pt>
                <c:pt idx="7">
                  <c:v>8.2293239243691557E-2</c:v>
                </c:pt>
                <c:pt idx="8">
                  <c:v>0.11762465125037273</c:v>
                </c:pt>
                <c:pt idx="9">
                  <c:v>5.521670078510834E-2</c:v>
                </c:pt>
                <c:pt idx="10">
                  <c:v>6.00444576504513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249600353817023E-3</c:v>
                </c:pt>
                <c:pt idx="1">
                  <c:v>1.2443923938520774E-2</c:v>
                </c:pt>
                <c:pt idx="2">
                  <c:v>1.6670401236197788E-2</c:v>
                </c:pt>
                <c:pt idx="3">
                  <c:v>4.5334745033686293E-2</c:v>
                </c:pt>
                <c:pt idx="4">
                  <c:v>6.0531542297092004E-2</c:v>
                </c:pt>
                <c:pt idx="5">
                  <c:v>6.7423599896182268E-2</c:v>
                </c:pt>
                <c:pt idx="6">
                  <c:v>0.10550384936561592</c:v>
                </c:pt>
                <c:pt idx="7">
                  <c:v>0.20935329812945264</c:v>
                </c:pt>
                <c:pt idx="8">
                  <c:v>0.18200643392867144</c:v>
                </c:pt>
                <c:pt idx="9">
                  <c:v>5.0943431632022196E-2</c:v>
                </c:pt>
                <c:pt idx="10">
                  <c:v>0.2433638145071770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0468467992461994E-4</c:v>
                </c:pt>
                <c:pt idx="1">
                  <c:v>5.6541014204771816E-3</c:v>
                </c:pt>
                <c:pt idx="2">
                  <c:v>1.9503665363068047E-4</c:v>
                </c:pt>
                <c:pt idx="3">
                  <c:v>2.22703998226833E-2</c:v>
                </c:pt>
                <c:pt idx="4">
                  <c:v>4.1385569799076191E-2</c:v>
                </c:pt>
                <c:pt idx="5">
                  <c:v>4.3770468263807649E-3</c:v>
                </c:pt>
                <c:pt idx="6">
                  <c:v>4.1483248752538032E-2</c:v>
                </c:pt>
                <c:pt idx="7">
                  <c:v>0.11842676385372465</c:v>
                </c:pt>
                <c:pt idx="8">
                  <c:v>0.13352035093785317</c:v>
                </c:pt>
                <c:pt idx="9">
                  <c:v>4.5232246335966828E-2</c:v>
                </c:pt>
                <c:pt idx="10">
                  <c:v>0.1992036225352797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0384040264905088E-6</c:v>
                </c:pt>
                <c:pt idx="1">
                  <c:v>3.0806301073427253E-5</c:v>
                </c:pt>
                <c:pt idx="4">
                  <c:v>2.0957525486417405E-4</c:v>
                </c:pt>
                <c:pt idx="5">
                  <c:v>1.1966620913583706E-2</c:v>
                </c:pt>
                <c:pt idx="6">
                  <c:v>1.5805556190975671E-2</c:v>
                </c:pt>
                <c:pt idx="7">
                  <c:v>3.61260023823199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4815779236097655E-5</c:v>
                </c:pt>
                <c:pt idx="1">
                  <c:v>1.6202334243434465E-3</c:v>
                </c:pt>
                <c:pt idx="2">
                  <c:v>6.2292525292862301E-4</c:v>
                </c:pt>
                <c:pt idx="3">
                  <c:v>1.6965830488753532E-3</c:v>
                </c:pt>
                <c:pt idx="4">
                  <c:v>9.7794784171219094E-3</c:v>
                </c:pt>
                <c:pt idx="5">
                  <c:v>3.5507416883434686E-2</c:v>
                </c:pt>
                <c:pt idx="6">
                  <c:v>1.2550179410043083E-2</c:v>
                </c:pt>
                <c:pt idx="7">
                  <c:v>1.3704996181290452E-2</c:v>
                </c:pt>
                <c:pt idx="8">
                  <c:v>1.4700869106375667E-2</c:v>
                </c:pt>
                <c:pt idx="9">
                  <c:v>1.3863194530840321E-3</c:v>
                </c:pt>
                <c:pt idx="10">
                  <c:v>2.93522793785687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7744211721944957E-3</c:v>
                </c:pt>
                <c:pt idx="1">
                  <c:v>5.1387827926267192E-3</c:v>
                </c:pt>
                <c:pt idx="2">
                  <c:v>1.5852439329638486E-2</c:v>
                </c:pt>
                <c:pt idx="3">
                  <c:v>2.1367762162127636E-2</c:v>
                </c:pt>
                <c:pt idx="4">
                  <c:v>9.156918826029729E-3</c:v>
                </c:pt>
                <c:pt idx="5">
                  <c:v>1.5572515272783116E-2</c:v>
                </c:pt>
                <c:pt idx="6">
                  <c:v>3.5664865012059135E-2</c:v>
                </c:pt>
                <c:pt idx="7">
                  <c:v>4.1095535712117597E-2</c:v>
                </c:pt>
                <c:pt idx="8">
                  <c:v>3.3785213884442604E-2</c:v>
                </c:pt>
                <c:pt idx="9">
                  <c:v>4.324865842971334E-3</c:v>
                </c:pt>
                <c:pt idx="10">
                  <c:v>1.48079125933284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2664777716174217E-2</c:v>
                </c:pt>
                <c:pt idx="1">
                  <c:v>1.455215005945285E-2</c:v>
                </c:pt>
                <c:pt idx="2">
                  <c:v>3.1793157987583059E-2</c:v>
                </c:pt>
                <c:pt idx="3">
                  <c:v>4.8197250418922831E-2</c:v>
                </c:pt>
                <c:pt idx="4">
                  <c:v>3.6172401739128744E-2</c:v>
                </c:pt>
                <c:pt idx="5">
                  <c:v>0.10756737889583759</c:v>
                </c:pt>
                <c:pt idx="6">
                  <c:v>0.1437797360274827</c:v>
                </c:pt>
                <c:pt idx="7">
                  <c:v>0.16541094068946494</c:v>
                </c:pt>
                <c:pt idx="8">
                  <c:v>0.17248314445239338</c:v>
                </c:pt>
                <c:pt idx="9">
                  <c:v>0.20438488641867086</c:v>
                </c:pt>
                <c:pt idx="10">
                  <c:v>6.29941755948888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8382250061494287E-8</c:v>
                </c:pt>
                <c:pt idx="1">
                  <c:v>1.086952655996785E-6</c:v>
                </c:pt>
                <c:pt idx="2">
                  <c:v>2.3943019083519984E-3</c:v>
                </c:pt>
                <c:pt idx="3">
                  <c:v>2.7759782695379711E-3</c:v>
                </c:pt>
                <c:pt idx="4">
                  <c:v>4.9318823062527006E-4</c:v>
                </c:pt>
                <c:pt idx="5">
                  <c:v>1.9749023285045237E-3</c:v>
                </c:pt>
                <c:pt idx="6">
                  <c:v>1.754079444177327E-3</c:v>
                </c:pt>
                <c:pt idx="7">
                  <c:v>4.7947915254000807E-3</c:v>
                </c:pt>
                <c:pt idx="8">
                  <c:v>4.4444628461473108E-3</c:v>
                </c:pt>
                <c:pt idx="9">
                  <c:v>2.6949239404878965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3069188362529549E-2</c:v>
                </c:pt>
                <c:pt idx="1">
                  <c:v>6.7719151245464616E-3</c:v>
                </c:pt>
                <c:pt idx="2">
                  <c:v>8.0226464748428782E-3</c:v>
                </c:pt>
                <c:pt idx="3">
                  <c:v>1.2031283771403632E-2</c:v>
                </c:pt>
                <c:pt idx="4">
                  <c:v>2.854363725578982E-2</c:v>
                </c:pt>
                <c:pt idx="5">
                  <c:v>4.0881534773557035E-2</c:v>
                </c:pt>
                <c:pt idx="6">
                  <c:v>4.5462132927523519E-2</c:v>
                </c:pt>
                <c:pt idx="7">
                  <c:v>5.1487648851214561E-2</c:v>
                </c:pt>
                <c:pt idx="8">
                  <c:v>7.984020946647484E-2</c:v>
                </c:pt>
                <c:pt idx="9">
                  <c:v>9.3795015616492172E-2</c:v>
                </c:pt>
                <c:pt idx="10">
                  <c:v>1.6961998277282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6949239404878965E-8</c:v>
                </c:pt>
                <c:pt idx="1">
                  <c:v>1.458582667390066E-4</c:v>
                </c:pt>
                <c:pt idx="2">
                  <c:v>7.0414034353771587E-4</c:v>
                </c:pt>
                <c:pt idx="3">
                  <c:v>3.6955655324634191E-4</c:v>
                </c:pt>
                <c:pt idx="4">
                  <c:v>3.3291007919560734E-3</c:v>
                </c:pt>
                <c:pt idx="5">
                  <c:v>1.3581920957382672E-2</c:v>
                </c:pt>
                <c:pt idx="6">
                  <c:v>5.2992037059156737E-3</c:v>
                </c:pt>
                <c:pt idx="7">
                  <c:v>2.363480144909E-3</c:v>
                </c:pt>
                <c:pt idx="8">
                  <c:v>7.6660378061651536E-4</c:v>
                </c:pt>
                <c:pt idx="9">
                  <c:v>4.1077174001982182E-7</c:v>
                </c:pt>
                <c:pt idx="10">
                  <c:v>4.954576832406081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8179328086945236E-3</c:v>
                </c:pt>
                <c:pt idx="1">
                  <c:v>2.4154203123220035E-3</c:v>
                </c:pt>
                <c:pt idx="2">
                  <c:v>1.839366437101204E-3</c:v>
                </c:pt>
                <c:pt idx="3">
                  <c:v>9.6860466282844987E-4</c:v>
                </c:pt>
                <c:pt idx="4">
                  <c:v>2.224397570271275E-3</c:v>
                </c:pt>
                <c:pt idx="5">
                  <c:v>3.2821535836255375E-3</c:v>
                </c:pt>
                <c:pt idx="6">
                  <c:v>9.0204175644999721E-3</c:v>
                </c:pt>
                <c:pt idx="7">
                  <c:v>1.3447783159853934E-2</c:v>
                </c:pt>
                <c:pt idx="8">
                  <c:v>1.1212361717378827E-2</c:v>
                </c:pt>
                <c:pt idx="9">
                  <c:v>9.1256167787695814E-3</c:v>
                </c:pt>
                <c:pt idx="10">
                  <c:v>1.6332872366593312E-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809961044016967E-2</c:v>
                </c:pt>
                <c:pt idx="1">
                  <c:v>1.8286652207909738E-2</c:v>
                </c:pt>
                <c:pt idx="2">
                  <c:v>2.0259295700165963E-2</c:v>
                </c:pt>
                <c:pt idx="3">
                  <c:v>3.4528460644623109E-2</c:v>
                </c:pt>
                <c:pt idx="4">
                  <c:v>4.5908155089328537E-2</c:v>
                </c:pt>
                <c:pt idx="5">
                  <c:v>5.3289030743696397E-2</c:v>
                </c:pt>
                <c:pt idx="6">
                  <c:v>6.901245096101008E-2</c:v>
                </c:pt>
                <c:pt idx="7">
                  <c:v>9.7903186253898558E-2</c:v>
                </c:pt>
                <c:pt idx="8">
                  <c:v>7.9699936225441595E-2</c:v>
                </c:pt>
                <c:pt idx="9">
                  <c:v>2.1829778142714036E-2</c:v>
                </c:pt>
                <c:pt idx="10">
                  <c:v>6.053697478315978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193811307894463E-4</c:v>
                </c:pt>
                <c:pt idx="1">
                  <c:v>6.0173469111435029E-5</c:v>
                </c:pt>
                <c:pt idx="2">
                  <c:v>8.963845470016352E-3</c:v>
                </c:pt>
                <c:pt idx="3">
                  <c:v>2.3701830432512266E-2</c:v>
                </c:pt>
                <c:pt idx="4">
                  <c:v>1.3538136962298842E-2</c:v>
                </c:pt>
                <c:pt idx="5">
                  <c:v>5.2050714440147451E-2</c:v>
                </c:pt>
                <c:pt idx="6">
                  <c:v>6.6835411572889747E-2</c:v>
                </c:pt>
                <c:pt idx="7">
                  <c:v>7.8245022457428454E-2</c:v>
                </c:pt>
                <c:pt idx="8">
                  <c:v>0.12333337649728078</c:v>
                </c:pt>
                <c:pt idx="9">
                  <c:v>0.18253935133240679</c:v>
                </c:pt>
                <c:pt idx="10">
                  <c:v>3.198088980502364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8323074475378015E-6</c:v>
                </c:pt>
                <c:pt idx="3">
                  <c:v>8.0997722208184354E-7</c:v>
                </c:pt>
                <c:pt idx="4">
                  <c:v>3.4743737786523303E-3</c:v>
                </c:pt>
                <c:pt idx="5">
                  <c:v>1.0002058596302368E-2</c:v>
                </c:pt>
                <c:pt idx="6">
                  <c:v>2.3991525318064207E-2</c:v>
                </c:pt>
                <c:pt idx="7">
                  <c:v>3.01333996950284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7244676341097316E-7</c:v>
                </c:pt>
                <c:pt idx="1">
                  <c:v>6.8490106201391507E-4</c:v>
                </c:pt>
                <c:pt idx="2">
                  <c:v>5.0108326353681221E-4</c:v>
                </c:pt>
                <c:pt idx="3">
                  <c:v>3.149750585020419E-3</c:v>
                </c:pt>
                <c:pt idx="4">
                  <c:v>8.9383965082644908E-3</c:v>
                </c:pt>
                <c:pt idx="5">
                  <c:v>2.4433093545586246E-2</c:v>
                </c:pt>
                <c:pt idx="6">
                  <c:v>1.1380854080325055E-2</c:v>
                </c:pt>
                <c:pt idx="7">
                  <c:v>1.5430902186178689E-2</c:v>
                </c:pt>
                <c:pt idx="8">
                  <c:v>6.3719131336949552E-3</c:v>
                </c:pt>
                <c:pt idx="9">
                  <c:v>1.3821451317604578E-2</c:v>
                </c:pt>
                <c:pt idx="10">
                  <c:v>1.774418145546594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979834848884326E-2</c:v>
                </c:pt>
                <c:pt idx="1">
                  <c:v>1.38070755283275E-2</c:v>
                </c:pt>
                <c:pt idx="2">
                  <c:v>2.2328229254029896E-2</c:v>
                </c:pt>
                <c:pt idx="3">
                  <c:v>2.1344859424168066E-2</c:v>
                </c:pt>
                <c:pt idx="4">
                  <c:v>1.0221494489913082E-2</c:v>
                </c:pt>
                <c:pt idx="5">
                  <c:v>2.1081512313801523E-2</c:v>
                </c:pt>
                <c:pt idx="6">
                  <c:v>4.1571945056203694E-2</c:v>
                </c:pt>
                <c:pt idx="7">
                  <c:v>4.1601616350829373E-2</c:v>
                </c:pt>
                <c:pt idx="8">
                  <c:v>4.2777854821417632E-2</c:v>
                </c:pt>
                <c:pt idx="9">
                  <c:v>8.0240837686595106E-3</c:v>
                </c:pt>
                <c:pt idx="10">
                  <c:v>1.32691043343992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592531584901567E-3</c:v>
                </c:pt>
                <c:pt idx="1">
                  <c:v>3.9365746906015022E-3</c:v>
                </c:pt>
                <c:pt idx="2">
                  <c:v>2.0756412271314948E-2</c:v>
                </c:pt>
                <c:pt idx="3">
                  <c:v>9.2991716400437199E-2</c:v>
                </c:pt>
                <c:pt idx="4">
                  <c:v>2.4277269541755013E-2</c:v>
                </c:pt>
                <c:pt idx="5">
                  <c:v>8.0415999435181115E-2</c:v>
                </c:pt>
                <c:pt idx="6">
                  <c:v>0.11774145970678358</c:v>
                </c:pt>
                <c:pt idx="7">
                  <c:v>0.21111395390431634</c:v>
                </c:pt>
                <c:pt idx="8">
                  <c:v>0.14924836341310024</c:v>
                </c:pt>
                <c:pt idx="9">
                  <c:v>0.13462867849848958</c:v>
                </c:pt>
                <c:pt idx="10">
                  <c:v>0.160730318979530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3482158597522872E-3</c:v>
                </c:pt>
                <c:pt idx="3">
                  <c:v>8.7783781516719173E-2</c:v>
                </c:pt>
                <c:pt idx="4">
                  <c:v>1.2798239305948547E-3</c:v>
                </c:pt>
                <c:pt idx="5">
                  <c:v>1.0282865830713451E-3</c:v>
                </c:pt>
                <c:pt idx="6">
                  <c:v>3.2196977696309692E-2</c:v>
                </c:pt>
                <c:pt idx="7">
                  <c:v>0.11178613571762461</c:v>
                </c:pt>
                <c:pt idx="8">
                  <c:v>9.9419366244212215E-2</c:v>
                </c:pt>
                <c:pt idx="9">
                  <c:v>0.12886691936373795</c:v>
                </c:pt>
                <c:pt idx="10">
                  <c:v>0.1132858689126807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1489318196314106E-4</c:v>
                </c:pt>
                <c:pt idx="1">
                  <c:v>1.1925816968012151E-3</c:v>
                </c:pt>
                <c:pt idx="2">
                  <c:v>3.7463953311854721E-4</c:v>
                </c:pt>
                <c:pt idx="3">
                  <c:v>3.9000902300152956E-3</c:v>
                </c:pt>
                <c:pt idx="4">
                  <c:v>1.9093649414540271E-2</c:v>
                </c:pt>
                <c:pt idx="5">
                  <c:v>5.1786010487178812E-2</c:v>
                </c:pt>
                <c:pt idx="6">
                  <c:v>2.497443499334397E-2</c:v>
                </c:pt>
                <c:pt idx="7">
                  <c:v>2.6951144990018789E-2</c:v>
                </c:pt>
                <c:pt idx="8">
                  <c:v>2.296589970030645E-2</c:v>
                </c:pt>
                <c:pt idx="9">
                  <c:v>3.0130658906235641E-3</c:v>
                </c:pt>
                <c:pt idx="10">
                  <c:v>3.76231455314350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0460029112298727E-3</c:v>
                </c:pt>
                <c:pt idx="5">
                  <c:v>2.0360983169438945E-2</c:v>
                </c:pt>
                <c:pt idx="6">
                  <c:v>2.3345551738145176E-2</c:v>
                </c:pt>
                <c:pt idx="7">
                  <c:v>4.10436705352630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0443599765270155E-3</c:v>
                </c:pt>
                <c:pt idx="1">
                  <c:v>2.7439929938002875E-3</c:v>
                </c:pt>
                <c:pt idx="2">
                  <c:v>1.9033556878444116E-2</c:v>
                </c:pt>
                <c:pt idx="3">
                  <c:v>1.3078446537027298E-3</c:v>
                </c:pt>
                <c:pt idx="4">
                  <c:v>2.8577932853900132E-3</c:v>
                </c:pt>
                <c:pt idx="5">
                  <c:v>7.2407191954920059E-3</c:v>
                </c:pt>
                <c:pt idx="6">
                  <c:v>3.7224495278984755E-2</c:v>
                </c:pt>
                <c:pt idx="7">
                  <c:v>3.1333002661409926E-2</c:v>
                </c:pt>
                <c:pt idx="8">
                  <c:v>2.6863097468581579E-2</c:v>
                </c:pt>
                <c:pt idx="9">
                  <c:v>2.7486932441280602E-3</c:v>
                </c:pt>
                <c:pt idx="10">
                  <c:v>9.82130453541452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2344219405181581E-2</c:v>
                </c:pt>
                <c:pt idx="1">
                  <c:v>1.8525575310990968E-2</c:v>
                </c:pt>
                <c:pt idx="2">
                  <c:v>1.0830848402378098E-2</c:v>
                </c:pt>
                <c:pt idx="3">
                  <c:v>1.3091761934090175E-2</c:v>
                </c:pt>
                <c:pt idx="4">
                  <c:v>2.2727357841393021E-2</c:v>
                </c:pt>
                <c:pt idx="5">
                  <c:v>0.15249326265147259</c:v>
                </c:pt>
                <c:pt idx="6">
                  <c:v>0.13267291400029826</c:v>
                </c:pt>
                <c:pt idx="7">
                  <c:v>0.14714524172169652</c:v>
                </c:pt>
                <c:pt idx="8">
                  <c:v>0.27503709972378243</c:v>
                </c:pt>
                <c:pt idx="9">
                  <c:v>0.18376269779339161</c:v>
                </c:pt>
                <c:pt idx="10">
                  <c:v>2.13690212153247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0249972708031823E-4</c:v>
                </c:pt>
                <c:pt idx="1">
                  <c:v>2.6169298476754588E-4</c:v>
                </c:pt>
                <c:pt idx="2">
                  <c:v>1.6113548162056504E-4</c:v>
                </c:pt>
                <c:pt idx="3">
                  <c:v>2.9618801109981473E-7</c:v>
                </c:pt>
                <c:pt idx="4">
                  <c:v>4.3295073350191199E-3</c:v>
                </c:pt>
                <c:pt idx="5">
                  <c:v>2.6654839316012657E-2</c:v>
                </c:pt>
                <c:pt idx="6">
                  <c:v>4.6901962260299267E-2</c:v>
                </c:pt>
                <c:pt idx="7">
                  <c:v>2.9235856785686911E-3</c:v>
                </c:pt>
                <c:pt idx="8">
                  <c:v>0.15835047344348338</c:v>
                </c:pt>
                <c:pt idx="9">
                  <c:v>0.1212841000964338</c:v>
                </c:pt>
                <c:pt idx="10">
                  <c:v>1.4604261909868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3024742284719818E-4</c:v>
                </c:pt>
                <c:pt idx="1">
                  <c:v>6.4333291044825101E-4</c:v>
                </c:pt>
                <c:pt idx="2">
                  <c:v>1.6506039111228602E-3</c:v>
                </c:pt>
                <c:pt idx="3">
                  <c:v>1.3446868768787837E-3</c:v>
                </c:pt>
                <c:pt idx="4">
                  <c:v>2.5141484243773387E-3</c:v>
                </c:pt>
                <c:pt idx="5">
                  <c:v>9.0987819112419308E-2</c:v>
                </c:pt>
                <c:pt idx="6">
                  <c:v>4.0313012293352012E-2</c:v>
                </c:pt>
                <c:pt idx="7">
                  <c:v>1.3856608067815367E-2</c:v>
                </c:pt>
                <c:pt idx="8">
                  <c:v>5.5726502520698868E-3</c:v>
                </c:pt>
                <c:pt idx="10">
                  <c:v>3.815135855968743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9255065465097391E-4</c:v>
                </c:pt>
                <c:pt idx="3">
                  <c:v>4.698973431430044E-3</c:v>
                </c:pt>
                <c:pt idx="5">
                  <c:v>3.731141454143039E-3</c:v>
                </c:pt>
                <c:pt idx="6">
                  <c:v>9.8635694767163409E-3</c:v>
                </c:pt>
                <c:pt idx="7">
                  <c:v>6.7740596090052521E-2</c:v>
                </c:pt>
                <c:pt idx="8">
                  <c:v>3.600134986765700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011472255254065E-2</c:v>
                </c:pt>
                <c:pt idx="1">
                  <c:v>1.762054941577517E-2</c:v>
                </c:pt>
                <c:pt idx="2">
                  <c:v>8.8265583549837004E-3</c:v>
                </c:pt>
                <c:pt idx="3">
                  <c:v>7.0478054377702479E-3</c:v>
                </c:pt>
                <c:pt idx="4">
                  <c:v>1.5883702081996562E-2</c:v>
                </c:pt>
                <c:pt idx="5">
                  <c:v>3.1119462768897592E-2</c:v>
                </c:pt>
                <c:pt idx="6">
                  <c:v>3.5594369969930623E-2</c:v>
                </c:pt>
                <c:pt idx="7">
                  <c:v>6.262445188525996E-2</c:v>
                </c:pt>
                <c:pt idx="8">
                  <c:v>7.5112626160572141E-2</c:v>
                </c:pt>
                <c:pt idx="9">
                  <c:v>6.2478597696957822E-2</c:v>
                </c:pt>
                <c:pt idx="10">
                  <c:v>6.726607946897030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72656352017654E-2</c:v>
                </c:pt>
                <c:pt idx="1">
                  <c:v>2.3212152827471175E-2</c:v>
                </c:pt>
                <c:pt idx="2">
                  <c:v>9.5276320472047864E-3</c:v>
                </c:pt>
                <c:pt idx="3">
                  <c:v>2.0834565919059692E-2</c:v>
                </c:pt>
                <c:pt idx="4">
                  <c:v>5.6280952496327273E-2</c:v>
                </c:pt>
                <c:pt idx="5">
                  <c:v>0.14858554007140801</c:v>
                </c:pt>
                <c:pt idx="6">
                  <c:v>0.13431405689832426</c:v>
                </c:pt>
                <c:pt idx="7">
                  <c:v>0.17459164325638374</c:v>
                </c:pt>
                <c:pt idx="8">
                  <c:v>0.24859878263049723</c:v>
                </c:pt>
                <c:pt idx="9">
                  <c:v>0.15784269013818411</c:v>
                </c:pt>
                <c:pt idx="10">
                  <c:v>6.439327363122094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072206953701329E-4</c:v>
                </c:pt>
                <c:pt idx="1">
                  <c:v>9.8258963677779861E-7</c:v>
                </c:pt>
                <c:pt idx="2">
                  <c:v>5.3737979969518241E-4</c:v>
                </c:pt>
                <c:pt idx="3">
                  <c:v>3.7915792159768625E-3</c:v>
                </c:pt>
                <c:pt idx="4">
                  <c:v>1.74384459394888E-2</c:v>
                </c:pt>
                <c:pt idx="5">
                  <c:v>2.398886702522296E-2</c:v>
                </c:pt>
                <c:pt idx="6">
                  <c:v>2.8077040668504298E-2</c:v>
                </c:pt>
                <c:pt idx="7">
                  <c:v>2.4364165355091935E-2</c:v>
                </c:pt>
                <c:pt idx="8">
                  <c:v>0.11227914318733516</c:v>
                </c:pt>
                <c:pt idx="9">
                  <c:v>0.10566720078983508</c:v>
                </c:pt>
                <c:pt idx="10">
                  <c:v>6.364166892615614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6800755447496039E-7</c:v>
                </c:pt>
                <c:pt idx="1">
                  <c:v>9.0931288733664395E-4</c:v>
                </c:pt>
                <c:pt idx="2">
                  <c:v>4.389767568115952E-3</c:v>
                </c:pt>
                <c:pt idx="3">
                  <c:v>2.3038977767911605E-3</c:v>
                </c:pt>
                <c:pt idx="4">
                  <c:v>2.0754355039642937E-2</c:v>
                </c:pt>
                <c:pt idx="5">
                  <c:v>8.4672717134605294E-2</c:v>
                </c:pt>
                <c:pt idx="6">
                  <c:v>3.3036414939946537E-2</c:v>
                </c:pt>
                <c:pt idx="7">
                  <c:v>1.4734461081836587E-2</c:v>
                </c:pt>
                <c:pt idx="8">
                  <c:v>4.7791785325608238E-3</c:v>
                </c:pt>
                <c:pt idx="9">
                  <c:v>2.5608424212395474E-6</c:v>
                </c:pt>
                <c:pt idx="10">
                  <c:v>3.0887934333320745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5823283524473069E-4</c:v>
                </c:pt>
                <c:pt idx="3">
                  <c:v>7.7176408426039098E-3</c:v>
                </c:pt>
                <c:pt idx="4">
                  <c:v>1.4611566101307161E-6</c:v>
                </c:pt>
                <c:pt idx="5">
                  <c:v>2.6771749248684216E-4</c:v>
                </c:pt>
                <c:pt idx="6">
                  <c:v>2.7288245200244362E-2</c:v>
                </c:pt>
                <c:pt idx="7">
                  <c:v>4.7237192388286393E-2</c:v>
                </c:pt>
                <c:pt idx="8">
                  <c:v>4.7206900117100756E-2</c:v>
                </c:pt>
                <c:pt idx="9">
                  <c:v>4.533505667676302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661766274926166E-2</c:v>
                </c:pt>
                <c:pt idx="1">
                  <c:v>2.2301857350497754E-2</c:v>
                </c:pt>
                <c:pt idx="2">
                  <c:v>4.2422518441489225E-3</c:v>
                </c:pt>
                <c:pt idx="3">
                  <c:v>7.0214480836877603E-3</c:v>
                </c:pt>
                <c:pt idx="4">
                  <c:v>1.8086690360585401E-2</c:v>
                </c:pt>
                <c:pt idx="5">
                  <c:v>3.9656238419092903E-2</c:v>
                </c:pt>
                <c:pt idx="6">
                  <c:v>4.5912356089629056E-2</c:v>
                </c:pt>
                <c:pt idx="7">
                  <c:v>8.8255824431168806E-2</c:v>
                </c:pt>
                <c:pt idx="8">
                  <c:v>8.4333560793500503E-2</c:v>
                </c:pt>
                <c:pt idx="9">
                  <c:v>5.1719577939160176E-2</c:v>
                </c:pt>
                <c:pt idx="10">
                  <c:v>4.427253617315925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E-3</c:v>
                </c:pt>
                <c:pt idx="1">
                  <c:v>7.6799999999999993E-2</c:v>
                </c:pt>
                <c:pt idx="2">
                  <c:v>0.13689999999999999</c:v>
                </c:pt>
                <c:pt idx="4">
                  <c:v>8.0000000000000004E-4</c:v>
                </c:pt>
                <c:pt idx="5">
                  <c:v>0.16589999999999999</c:v>
                </c:pt>
                <c:pt idx="6">
                  <c:v>0.12740000000000001</c:v>
                </c:pt>
                <c:pt idx="7">
                  <c:v>0.2137</c:v>
                </c:pt>
                <c:pt idx="8">
                  <c:v>0.2750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918174965397519E-2</c:v>
                </c:pt>
                <c:pt idx="1">
                  <c:v>7.2063106135973071E-3</c:v>
                </c:pt>
                <c:pt idx="2">
                  <c:v>7.4454837871766096E-3</c:v>
                </c:pt>
                <c:pt idx="3">
                  <c:v>1.292014843570851E-2</c:v>
                </c:pt>
                <c:pt idx="4">
                  <c:v>6.6563239755059123E-2</c:v>
                </c:pt>
                <c:pt idx="5">
                  <c:v>0.16102300693596588</c:v>
                </c:pt>
                <c:pt idx="6">
                  <c:v>0.13290516588104634</c:v>
                </c:pt>
                <c:pt idx="7">
                  <c:v>0.17400543608853142</c:v>
                </c:pt>
                <c:pt idx="8">
                  <c:v>0.20826118401731084</c:v>
                </c:pt>
                <c:pt idx="9">
                  <c:v>0.12870129858787954</c:v>
                </c:pt>
                <c:pt idx="10">
                  <c:v>6.90505509323268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8445519718359413E-6</c:v>
                </c:pt>
                <c:pt idx="1">
                  <c:v>4.8868903831935883E-5</c:v>
                </c:pt>
                <c:pt idx="2">
                  <c:v>2.8924539775195559E-3</c:v>
                </c:pt>
                <c:pt idx="3">
                  <c:v>3.3221871810015869E-3</c:v>
                </c:pt>
                <c:pt idx="4">
                  <c:v>1.567027500579515E-2</c:v>
                </c:pt>
                <c:pt idx="5">
                  <c:v>9.4302455971201155E-2</c:v>
                </c:pt>
                <c:pt idx="6">
                  <c:v>3.8677722491997205E-2</c:v>
                </c:pt>
                <c:pt idx="7">
                  <c:v>2.6087623179705071E-2</c:v>
                </c:pt>
                <c:pt idx="8">
                  <c:v>2.4544927826979377E-3</c:v>
                </c:pt>
                <c:pt idx="9">
                  <c:v>1.0030788532263582E-5</c:v>
                </c:pt>
                <c:pt idx="10">
                  <c:v>5.6766278385322515E-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5839663085275927E-4</c:v>
                </c:pt>
                <c:pt idx="1">
                  <c:v>9.5442204318179608E-7</c:v>
                </c:pt>
                <c:pt idx="2">
                  <c:v>2.3542410398484303E-5</c:v>
                </c:pt>
                <c:pt idx="3">
                  <c:v>2.4240448481046675E-4</c:v>
                </c:pt>
                <c:pt idx="4">
                  <c:v>2.5602951447240674E-2</c:v>
                </c:pt>
                <c:pt idx="5">
                  <c:v>5.2318110239364061E-3</c:v>
                </c:pt>
                <c:pt idx="6">
                  <c:v>4.7957854968272019E-2</c:v>
                </c:pt>
                <c:pt idx="7">
                  <c:v>1.0447571538610676E-2</c:v>
                </c:pt>
                <c:pt idx="8">
                  <c:v>8.1065083848159816E-2</c:v>
                </c:pt>
                <c:pt idx="9">
                  <c:v>5.3692003889550539E-2</c:v>
                </c:pt>
                <c:pt idx="10">
                  <c:v>6.904998326954300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9154045214902155E-3</c:v>
                </c:pt>
                <c:pt idx="1">
                  <c:v>6.8317342709375865E-3</c:v>
                </c:pt>
                <c:pt idx="3">
                  <c:v>6.5530742245913513E-5</c:v>
                </c:pt>
                <c:pt idx="4">
                  <c:v>1.2039441459744225E-4</c:v>
                </c:pt>
                <c:pt idx="5">
                  <c:v>1.5812515080492088E-2</c:v>
                </c:pt>
                <c:pt idx="6">
                  <c:v>1.5999064042592426E-2</c:v>
                </c:pt>
                <c:pt idx="7">
                  <c:v>5.3520108112936698E-2</c:v>
                </c:pt>
                <c:pt idx="8">
                  <c:v>1.3410534224326857E-2</c:v>
                </c:pt>
                <c:pt idx="9">
                  <c:v>7.009729615354193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684152926108271E-2</c:v>
                </c:pt>
                <c:pt idx="1">
                  <c:v>3.2475301678460327E-4</c:v>
                </c:pt>
                <c:pt idx="2">
                  <c:v>4.5294873992585694E-3</c:v>
                </c:pt>
                <c:pt idx="3">
                  <c:v>9.2900260276505414E-3</c:v>
                </c:pt>
                <c:pt idx="4">
                  <c:v>2.5169618887425856E-2</c:v>
                </c:pt>
                <c:pt idx="5">
                  <c:v>4.5676224860336241E-2</c:v>
                </c:pt>
                <c:pt idx="6">
                  <c:v>3.0270524378184682E-2</c:v>
                </c:pt>
                <c:pt idx="7">
                  <c:v>8.3950133257279E-2</c:v>
                </c:pt>
                <c:pt idx="8">
                  <c:v>0.11133107316212625</c:v>
                </c:pt>
                <c:pt idx="9">
                  <c:v>4.901967756254833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3963418572699626E-2</c:v>
                </c:pt>
                <c:pt idx="1">
                  <c:v>2.1724384786094904E-2</c:v>
                </c:pt>
                <c:pt idx="2">
                  <c:v>4.1414606767385245E-2</c:v>
                </c:pt>
                <c:pt idx="3">
                  <c:v>2.1675870432187948E-2</c:v>
                </c:pt>
                <c:pt idx="4">
                  <c:v>5.2576267878937134E-2</c:v>
                </c:pt>
                <c:pt idx="5">
                  <c:v>6.372480657963811E-2</c:v>
                </c:pt>
                <c:pt idx="6">
                  <c:v>0.13090576767225237</c:v>
                </c:pt>
                <c:pt idx="7">
                  <c:v>0.17797195797908866</c:v>
                </c:pt>
                <c:pt idx="8">
                  <c:v>0.38160066799202275</c:v>
                </c:pt>
                <c:pt idx="9">
                  <c:v>7.1611015796664484E-2</c:v>
                </c:pt>
                <c:pt idx="10">
                  <c:v>2.831235543028778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1627993719166205E-3</c:v>
                </c:pt>
                <c:pt idx="1">
                  <c:v>8.7688137204002014E-4</c:v>
                </c:pt>
                <c:pt idx="2">
                  <c:v>1.9981259896930361E-2</c:v>
                </c:pt>
                <c:pt idx="3">
                  <c:v>1.6324014573663459E-3</c:v>
                </c:pt>
                <c:pt idx="4">
                  <c:v>6.8090429702527518E-3</c:v>
                </c:pt>
                <c:pt idx="5">
                  <c:v>4.234729917675846E-2</c:v>
                </c:pt>
                <c:pt idx="6">
                  <c:v>1.0991930094336426E-2</c:v>
                </c:pt>
                <c:pt idx="7">
                  <c:v>0.10026226218434729</c:v>
                </c:pt>
                <c:pt idx="8">
                  <c:v>0.19569457358830389</c:v>
                </c:pt>
                <c:pt idx="9">
                  <c:v>6.9300325624541192E-2</c:v>
                </c:pt>
                <c:pt idx="10">
                  <c:v>2.57448820758986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576734586082283E-4</c:v>
                </c:pt>
                <c:pt idx="2">
                  <c:v>8.0075754481299911E-4</c:v>
                </c:pt>
                <c:pt idx="3">
                  <c:v>2.5958047086377017E-7</c:v>
                </c:pt>
                <c:pt idx="4">
                  <c:v>3.2744667248337057E-2</c:v>
                </c:pt>
                <c:pt idx="5">
                  <c:v>3.1322710150894933E-6</c:v>
                </c:pt>
                <c:pt idx="6">
                  <c:v>7.7718913373651985E-2</c:v>
                </c:pt>
                <c:pt idx="7">
                  <c:v>2.2565809938009898E-2</c:v>
                </c:pt>
                <c:pt idx="8">
                  <c:v>0.113940892179438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1398713891251741E-3</c:v>
                </c:pt>
                <c:pt idx="4">
                  <c:v>1.0270363134599081E-4</c:v>
                </c:pt>
                <c:pt idx="6">
                  <c:v>2.2558341437033901E-2</c:v>
                </c:pt>
                <c:pt idx="7">
                  <c:v>2.6974316990783479E-3</c:v>
                </c:pt>
                <c:pt idx="8">
                  <c:v>4.8722609138244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2442945742174774E-2</c:v>
                </c:pt>
                <c:pt idx="1">
                  <c:v>2.0847503414054887E-2</c:v>
                </c:pt>
                <c:pt idx="2">
                  <c:v>2.0632589325641888E-2</c:v>
                </c:pt>
                <c:pt idx="3">
                  <c:v>1.7903338005225564E-2</c:v>
                </c:pt>
                <c:pt idx="4">
                  <c:v>1.2919854029001331E-2</c:v>
                </c:pt>
                <c:pt idx="5">
                  <c:v>2.1374375131864562E-2</c:v>
                </c:pt>
                <c:pt idx="6">
                  <c:v>1.9636582767230043E-2</c:v>
                </c:pt>
                <c:pt idx="7">
                  <c:v>5.2446454157653116E-2</c:v>
                </c:pt>
                <c:pt idx="8">
                  <c:v>2.3242593086035841E-2</c:v>
                </c:pt>
                <c:pt idx="9">
                  <c:v>2.3106901721232985E-3</c:v>
                </c:pt>
                <c:pt idx="10">
                  <c:v>2.567473354389141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6578369953938744E-2</c:v>
                </c:pt>
                <c:pt idx="1">
                  <c:v>3.9748049335277494E-2</c:v>
                </c:pt>
                <c:pt idx="2">
                  <c:v>3.6152583544337216E-2</c:v>
                </c:pt>
                <c:pt idx="3">
                  <c:v>2.5469849750860741E-2</c:v>
                </c:pt>
                <c:pt idx="4">
                  <c:v>6.4813880382745381E-2</c:v>
                </c:pt>
                <c:pt idx="5">
                  <c:v>8.5197700245182306E-2</c:v>
                </c:pt>
                <c:pt idx="6">
                  <c:v>0.17447621527054125</c:v>
                </c:pt>
                <c:pt idx="7">
                  <c:v>0.20259246306990597</c:v>
                </c:pt>
                <c:pt idx="8">
                  <c:v>0.20923515941614845</c:v>
                </c:pt>
                <c:pt idx="9">
                  <c:v>0.10072276476360653</c:v>
                </c:pt>
                <c:pt idx="10">
                  <c:v>5.012964267455894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2895615689523123E-3</c:v>
                </c:pt>
                <c:pt idx="1">
                  <c:v>1.2191397881004248E-2</c:v>
                </c:pt>
                <c:pt idx="2">
                  <c:v>1.0974375492565613E-2</c:v>
                </c:pt>
                <c:pt idx="3">
                  <c:v>2.2957743157416563E-3</c:v>
                </c:pt>
                <c:pt idx="4">
                  <c:v>1.2578924651319585E-2</c:v>
                </c:pt>
                <c:pt idx="5">
                  <c:v>5.5726885091712086E-2</c:v>
                </c:pt>
                <c:pt idx="6">
                  <c:v>3.0004173992332232E-2</c:v>
                </c:pt>
                <c:pt idx="7">
                  <c:v>0.1044620805993903</c:v>
                </c:pt>
                <c:pt idx="8">
                  <c:v>8.336121691648106E-2</c:v>
                </c:pt>
                <c:pt idx="9">
                  <c:v>9.0957371374645851E-2</c:v>
                </c:pt>
                <c:pt idx="10">
                  <c:v>4.172937746034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037277176314197E-5</c:v>
                </c:pt>
                <c:pt idx="2">
                  <c:v>2.1039368592767134E-5</c:v>
                </c:pt>
                <c:pt idx="3">
                  <c:v>1.2804621056102856E-5</c:v>
                </c:pt>
                <c:pt idx="4">
                  <c:v>3.2882094847373367E-2</c:v>
                </c:pt>
                <c:pt idx="5">
                  <c:v>1.6265488739259478E-2</c:v>
                </c:pt>
                <c:pt idx="6">
                  <c:v>7.8624434563229401E-2</c:v>
                </c:pt>
                <c:pt idx="7">
                  <c:v>5.0416138591354513E-2</c:v>
                </c:pt>
                <c:pt idx="8">
                  <c:v>7.90571514739775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2155196105875398E-3</c:v>
                </c:pt>
                <c:pt idx="4">
                  <c:v>1.9176191518417963E-3</c:v>
                </c:pt>
                <c:pt idx="5">
                  <c:v>2.2228582814683231E-5</c:v>
                </c:pt>
                <c:pt idx="6">
                  <c:v>2.1670370146516651E-2</c:v>
                </c:pt>
                <c:pt idx="7">
                  <c:v>3.1357634404897868E-3</c:v>
                </c:pt>
                <c:pt idx="8">
                  <c:v>3.452698005832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9221771107810119E-2</c:v>
                </c:pt>
                <c:pt idx="1">
                  <c:v>2.7556651454273242E-2</c:v>
                </c:pt>
                <c:pt idx="2">
                  <c:v>2.515716868317883E-2</c:v>
                </c:pt>
                <c:pt idx="3">
                  <c:v>1.7945751203475444E-2</c:v>
                </c:pt>
                <c:pt idx="4">
                  <c:v>1.743524173221063E-2</c:v>
                </c:pt>
                <c:pt idx="5">
                  <c:v>1.3183097831396064E-2</c:v>
                </c:pt>
                <c:pt idx="6">
                  <c:v>4.417723656846298E-2</c:v>
                </c:pt>
                <c:pt idx="7">
                  <c:v>4.457848043867136E-2</c:v>
                </c:pt>
                <c:pt idx="8">
                  <c:v>1.228981096736885E-2</c:v>
                </c:pt>
                <c:pt idx="9">
                  <c:v>9.7653933889606855E-3</c:v>
                </c:pt>
                <c:pt idx="10">
                  <c:v>8.4002652142177578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4166140754915016E-2</c:v>
                </c:pt>
                <c:pt idx="1">
                  <c:v>1.5633277822468455E-2</c:v>
                </c:pt>
                <c:pt idx="2">
                  <c:v>2.8142038356699532E-2</c:v>
                </c:pt>
                <c:pt idx="3">
                  <c:v>6.0911867845577033E-2</c:v>
                </c:pt>
                <c:pt idx="4">
                  <c:v>9.3166401312493333E-2</c:v>
                </c:pt>
                <c:pt idx="5">
                  <c:v>9.3267342556455732E-2</c:v>
                </c:pt>
                <c:pt idx="6">
                  <c:v>0.10621791691026569</c:v>
                </c:pt>
                <c:pt idx="7">
                  <c:v>0.17286318021440519</c:v>
                </c:pt>
                <c:pt idx="8">
                  <c:v>0.1708689325128169</c:v>
                </c:pt>
                <c:pt idx="9">
                  <c:v>0.13656175115690375</c:v>
                </c:pt>
                <c:pt idx="10">
                  <c:v>5.820115055699940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1541257537623539E-2</c:v>
                </c:pt>
                <c:pt idx="1">
                  <c:v>9.117305413480924E-3</c:v>
                </c:pt>
                <c:pt idx="2">
                  <c:v>1.6301635329842315E-2</c:v>
                </c:pt>
                <c:pt idx="3">
                  <c:v>1.2411255521436126E-2</c:v>
                </c:pt>
                <c:pt idx="4">
                  <c:v>5.219875481715807E-2</c:v>
                </c:pt>
                <c:pt idx="5">
                  <c:v>9.1798095526811688E-2</c:v>
                </c:pt>
                <c:pt idx="6">
                  <c:v>0.20263346870495211</c:v>
                </c:pt>
                <c:pt idx="7">
                  <c:v>0.15958441887694685</c:v>
                </c:pt>
                <c:pt idx="8">
                  <c:v>0.3649632933266263</c:v>
                </c:pt>
                <c:pt idx="9">
                  <c:v>7.945051494512211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2.0961684833031434E-3</c:v>
                </c:pt>
                <c:pt idx="4">
                  <c:v>4.2310797289750679E-2</c:v>
                </c:pt>
                <c:pt idx="5">
                  <c:v>1.4619105818097845E-3</c:v>
                </c:pt>
                <c:pt idx="6">
                  <c:v>0.12444061231207575</c:v>
                </c:pt>
                <c:pt idx="7">
                  <c:v>2.602444516081143E-2</c:v>
                </c:pt>
                <c:pt idx="8">
                  <c:v>0.139078434734062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1.2408055063195327E-3</c:v>
                </c:pt>
                <c:pt idx="2">
                  <c:v>1.3995765935539875E-2</c:v>
                </c:pt>
                <c:pt idx="3">
                  <c:v>5.5229578643163904E-3</c:v>
                </c:pt>
                <c:pt idx="4">
                  <c:v>5.847257462007649E-3</c:v>
                </c:pt>
                <c:pt idx="5">
                  <c:v>7.9944580622029512E-2</c:v>
                </c:pt>
                <c:pt idx="6">
                  <c:v>2.6257339266024124E-2</c:v>
                </c:pt>
                <c:pt idx="7">
                  <c:v>8.0604057324217798E-2</c:v>
                </c:pt>
                <c:pt idx="8">
                  <c:v>0.12730775700634242</c:v>
                </c:pt>
                <c:pt idx="9">
                  <c:v>7.945051494512211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4179245370635902E-7</c:v>
                </c:pt>
                <c:pt idx="3">
                  <c:v>2.2281671296713562E-7</c:v>
                </c:pt>
                <c:pt idx="4">
                  <c:v>1.3166442129876197E-7</c:v>
                </c:pt>
                <c:pt idx="6">
                  <c:v>2.407768541158516E-2</c:v>
                </c:pt>
                <c:pt idx="7">
                  <c:v>1.0893407816639185E-3</c:v>
                </c:pt>
                <c:pt idx="8">
                  <c:v>7.87349897115901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1541257537623539E-2</c:v>
                </c:pt>
                <c:pt idx="1">
                  <c:v>7.8764999071613915E-3</c:v>
                </c:pt>
                <c:pt idx="2">
                  <c:v>2.3057276018487345E-3</c:v>
                </c:pt>
                <c:pt idx="3">
                  <c:v>4.7919063571036256E-3</c:v>
                </c:pt>
                <c:pt idx="4">
                  <c:v>4.0405684009784445E-3</c:v>
                </c:pt>
                <c:pt idx="5">
                  <c:v>1.039160432297238E-2</c:v>
                </c:pt>
                <c:pt idx="6">
                  <c:v>2.785783171526706E-2</c:v>
                </c:pt>
                <c:pt idx="7">
                  <c:v>5.1866575610253707E-2</c:v>
                </c:pt>
                <c:pt idx="8">
                  <c:v>1.984211187463083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22923696978769E-2</c:v>
                </c:pt>
                <c:pt idx="1">
                  <c:v>3.4208146091019583E-2</c:v>
                </c:pt>
                <c:pt idx="2">
                  <c:v>4.638899137720838E-2</c:v>
                </c:pt>
                <c:pt idx="3">
                  <c:v>4.2363038609228514E-2</c:v>
                </c:pt>
                <c:pt idx="4">
                  <c:v>7.3599001227352398E-2</c:v>
                </c:pt>
                <c:pt idx="5">
                  <c:v>0.21666215265832334</c:v>
                </c:pt>
                <c:pt idx="6">
                  <c:v>0.35850197330543981</c:v>
                </c:pt>
                <c:pt idx="7">
                  <c:v>0.11680761238296965</c:v>
                </c:pt>
                <c:pt idx="8">
                  <c:v>4.7250813869102577E-2</c:v>
                </c:pt>
                <c:pt idx="9">
                  <c:v>2.298885181058734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2067234970202518E-4</c:v>
                </c:pt>
                <c:pt idx="1">
                  <c:v>2.8405607312913979E-6</c:v>
                </c:pt>
                <c:pt idx="2">
                  <c:v>2.000832835447843E-3</c:v>
                </c:pt>
                <c:pt idx="3">
                  <c:v>2.0922698191585174E-3</c:v>
                </c:pt>
                <c:pt idx="4">
                  <c:v>1.9837289047332017E-3</c:v>
                </c:pt>
                <c:pt idx="5">
                  <c:v>1.335072022992722E-2</c:v>
                </c:pt>
                <c:pt idx="6">
                  <c:v>0.20974885772815974</c:v>
                </c:pt>
                <c:pt idx="7">
                  <c:v>0.10680264267358276</c:v>
                </c:pt>
                <c:pt idx="8">
                  <c:v>5.3849702939730822E-3</c:v>
                </c:pt>
                <c:pt idx="9">
                  <c:v>1.240867158143028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6932347279614364E-7</c:v>
                </c:pt>
                <c:pt idx="1">
                  <c:v>2.3792966706217691E-2</c:v>
                </c:pt>
                <c:pt idx="2">
                  <c:v>3.1812117972593569E-2</c:v>
                </c:pt>
                <c:pt idx="4">
                  <c:v>2.1253269203768297E-3</c:v>
                </c:pt>
                <c:pt idx="5">
                  <c:v>0.12330438662645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1224575664137333E-3</c:v>
                </c:pt>
                <c:pt idx="2">
                  <c:v>2.8526376568739032E-3</c:v>
                </c:pt>
                <c:pt idx="3">
                  <c:v>5.1450610165164013E-3</c:v>
                </c:pt>
                <c:pt idx="4">
                  <c:v>5.7721799067503875E-2</c:v>
                </c:pt>
                <c:pt idx="5">
                  <c:v>1.2534031764833841E-2</c:v>
                </c:pt>
                <c:pt idx="6">
                  <c:v>8.6587668068377394E-2</c:v>
                </c:pt>
                <c:pt idx="8">
                  <c:v>1.8426081517454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9985537730199132E-2</c:v>
                </c:pt>
                <c:pt idx="1">
                  <c:v>1.0412338824070604E-2</c:v>
                </c:pt>
                <c:pt idx="2">
                  <c:v>9.7234029122930648E-3</c:v>
                </c:pt>
                <c:pt idx="3">
                  <c:v>3.5125707773553602E-2</c:v>
                </c:pt>
                <c:pt idx="4">
                  <c:v>1.1768146334738484E-2</c:v>
                </c:pt>
                <c:pt idx="5">
                  <c:v>6.7473014037106302E-2</c:v>
                </c:pt>
                <c:pt idx="6">
                  <c:v>6.2165447508902738E-2</c:v>
                </c:pt>
                <c:pt idx="7">
                  <c:v>1.0004969709386895E-2</c:v>
                </c:pt>
                <c:pt idx="8">
                  <c:v>2.3439762057674576E-2</c:v>
                </c:pt>
                <c:pt idx="9">
                  <c:v>1.05801802291570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3220514636903894E-2</c:v>
                </c:pt>
                <c:pt idx="1">
                  <c:v>1.2441037528871992E-2</c:v>
                </c:pt>
                <c:pt idx="2">
                  <c:v>8.7624574801509106E-2</c:v>
                </c:pt>
                <c:pt idx="3">
                  <c:v>3.028285437437974E-2</c:v>
                </c:pt>
                <c:pt idx="4">
                  <c:v>0.14027776593737548</c:v>
                </c:pt>
                <c:pt idx="5">
                  <c:v>0.28950622024873895</c:v>
                </c:pt>
                <c:pt idx="6">
                  <c:v>0.21798642705429877</c:v>
                </c:pt>
                <c:pt idx="7">
                  <c:v>5.6581598744397013E-2</c:v>
                </c:pt>
                <c:pt idx="8">
                  <c:v>9.882715982471646E-2</c:v>
                </c:pt>
                <c:pt idx="9">
                  <c:v>1.325184684880861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3375518511576435E-3</c:v>
                </c:pt>
                <c:pt idx="1">
                  <c:v>2.1602037164684789E-5</c:v>
                </c:pt>
                <c:pt idx="2">
                  <c:v>9.2131917006053315E-3</c:v>
                </c:pt>
                <c:pt idx="3">
                  <c:v>3.275023134431676E-5</c:v>
                </c:pt>
                <c:pt idx="4">
                  <c:v>1.4103430013893581E-3</c:v>
                </c:pt>
                <c:pt idx="5">
                  <c:v>4.3140155444401931E-2</c:v>
                </c:pt>
                <c:pt idx="6">
                  <c:v>0.11246984924594039</c:v>
                </c:pt>
                <c:pt idx="7">
                  <c:v>4.5377856469198716E-2</c:v>
                </c:pt>
                <c:pt idx="8">
                  <c:v>1.7636134591646855E-3</c:v>
                </c:pt>
                <c:pt idx="9">
                  <c:v>6.143889395100912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1180255460291005E-3</c:v>
                </c:pt>
                <c:pt idx="2">
                  <c:v>5.0127102914921035E-2</c:v>
                </c:pt>
                <c:pt idx="3">
                  <c:v>1.7280858230420521E-3</c:v>
                </c:pt>
                <c:pt idx="4">
                  <c:v>2.6365247784431421E-2</c:v>
                </c:pt>
                <c:pt idx="5">
                  <c:v>0.1007955683112156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2.1212428994393153E-4</c:v>
                </c:pt>
                <c:pt idx="2">
                  <c:v>9.317537255124032E-3</c:v>
                </c:pt>
                <c:pt idx="3">
                  <c:v>2.6069029849810682E-4</c:v>
                </c:pt>
                <c:pt idx="4">
                  <c:v>6.6651696969245763E-2</c:v>
                </c:pt>
                <c:pt idx="5">
                  <c:v>2.5915848261273244E-2</c:v>
                </c:pt>
                <c:pt idx="6">
                  <c:v>7.5755991257501265E-2</c:v>
                </c:pt>
                <c:pt idx="8">
                  <c:v>2.07393058054201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764937239717154E-2</c:v>
                </c:pt>
                <c:pt idx="1">
                  <c:v>1.2207311201763375E-2</c:v>
                </c:pt>
                <c:pt idx="2">
                  <c:v>1.8966742930858708E-2</c:v>
                </c:pt>
                <c:pt idx="3">
                  <c:v>2.8261328021495263E-2</c:v>
                </c:pt>
                <c:pt idx="4">
                  <c:v>4.5850478182308925E-2</c:v>
                </c:pt>
                <c:pt idx="5">
                  <c:v>0.11965464823184818</c:v>
                </c:pt>
                <c:pt idx="6">
                  <c:v>2.9760586550857119E-2</c:v>
                </c:pt>
                <c:pt idx="7">
                  <c:v>1.1203742275198304E-2</c:v>
                </c:pt>
                <c:pt idx="8">
                  <c:v>7.6324240560131568E-2</c:v>
                </c:pt>
                <c:pt idx="9">
                  <c:v>7.107957453707702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1847693416567171E-2</c:v>
                </c:pt>
                <c:pt idx="1">
                  <c:v>8.6420771688770298E-2</c:v>
                </c:pt>
                <c:pt idx="2">
                  <c:v>1.497950272481768E-2</c:v>
                </c:pt>
                <c:pt idx="3">
                  <c:v>3.8435745481682639E-2</c:v>
                </c:pt>
                <c:pt idx="4">
                  <c:v>9.2213614362690724E-2</c:v>
                </c:pt>
                <c:pt idx="5">
                  <c:v>0.23543198442819935</c:v>
                </c:pt>
                <c:pt idx="6">
                  <c:v>0.18117729862300255</c:v>
                </c:pt>
                <c:pt idx="7">
                  <c:v>0.20368518910803782</c:v>
                </c:pt>
                <c:pt idx="8">
                  <c:v>9.7217979514334779E-2</c:v>
                </c:pt>
                <c:pt idx="9">
                  <c:v>2.85902206518969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435598171150831E-5</c:v>
                </c:pt>
                <c:pt idx="1">
                  <c:v>9.3834611577078147E-4</c:v>
                </c:pt>
                <c:pt idx="2">
                  <c:v>1.6731908705889631E-3</c:v>
                </c:pt>
                <c:pt idx="4">
                  <c:v>1.0371726668838684E-5</c:v>
                </c:pt>
                <c:pt idx="5">
                  <c:v>2.0272147473181252E-3</c:v>
                </c:pt>
                <c:pt idx="6">
                  <c:v>1.5571193082890124E-3</c:v>
                </c:pt>
                <c:pt idx="7">
                  <c:v>2.6113466142792534E-3</c:v>
                </c:pt>
                <c:pt idx="8">
                  <c:v>3.359679373068937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2.7089274358492173E-2</c:v>
                </c:pt>
                <c:pt idx="1">
                  <c:v>2.1371034790636225E-3</c:v>
                </c:pt>
                <c:pt idx="2">
                  <c:v>2.6646294865092096E-3</c:v>
                </c:pt>
                <c:pt idx="3">
                  <c:v>2.4656637403743072E-2</c:v>
                </c:pt>
                <c:pt idx="4">
                  <c:v>4.454787378520015E-2</c:v>
                </c:pt>
                <c:pt idx="5">
                  <c:v>2.4827158932781361E-2</c:v>
                </c:pt>
                <c:pt idx="6">
                  <c:v>2.249622897237815E-2</c:v>
                </c:pt>
                <c:pt idx="7">
                  <c:v>6.3901289859993451E-2</c:v>
                </c:pt>
                <c:pt idx="8">
                  <c:v>7.9893973122182854E-2</c:v>
                </c:pt>
                <c:pt idx="9">
                  <c:v>0.10663760352720539</c:v>
                </c:pt>
                <c:pt idx="10">
                  <c:v>5.267850125360192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165112713714903E-3</c:v>
                </c:pt>
                <c:pt idx="1">
                  <c:v>8.957503627609252E-4</c:v>
                </c:pt>
                <c:pt idx="2">
                  <c:v>1.3216872928955544E-3</c:v>
                </c:pt>
                <c:pt idx="3">
                  <c:v>4.2015544370509162E-4</c:v>
                </c:pt>
                <c:pt idx="4">
                  <c:v>5.8754975614952517E-3</c:v>
                </c:pt>
                <c:pt idx="5">
                  <c:v>1.1443974681209432E-2</c:v>
                </c:pt>
                <c:pt idx="6">
                  <c:v>7.7223489694198547E-3</c:v>
                </c:pt>
                <c:pt idx="7">
                  <c:v>1.910559424660908E-2</c:v>
                </c:pt>
                <c:pt idx="8">
                  <c:v>1.3330850398370094E-2</c:v>
                </c:pt>
                <c:pt idx="9">
                  <c:v>1.3005318402792026E-2</c:v>
                </c:pt>
                <c:pt idx="10">
                  <c:v>9.791802166925123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ichesmont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4413815364391465E-2</c:v>
                </c:pt>
                <c:pt idx="1">
                  <c:v>4.5842946635036913E-4</c:v>
                </c:pt>
                <c:pt idx="2">
                  <c:v>2.9420115525947395E-3</c:v>
                </c:pt>
                <c:pt idx="3">
                  <c:v>4.8557240503559581E-4</c:v>
                </c:pt>
                <c:pt idx="4">
                  <c:v>4.1853443964658259E-6</c:v>
                </c:pt>
                <c:pt idx="5">
                  <c:v>5.6635693946065908E-6</c:v>
                </c:pt>
                <c:pt idx="6">
                  <c:v>3.4981580133801101E-5</c:v>
                </c:pt>
                <c:pt idx="7">
                  <c:v>1.464835021583843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9457502720145323E-2</c:v>
                </c:pt>
                <c:pt idx="1">
                  <c:v>1.1203648398522753E-2</c:v>
                </c:pt>
                <c:pt idx="2">
                  <c:v>1.9540519154111067E-2</c:v>
                </c:pt>
                <c:pt idx="3">
                  <c:v>3.5349502593093274E-2</c:v>
                </c:pt>
                <c:pt idx="4">
                  <c:v>4.2728472894732611E-2</c:v>
                </c:pt>
                <c:pt idx="5">
                  <c:v>5.4963330625752212E-2</c:v>
                </c:pt>
                <c:pt idx="6">
                  <c:v>7.440723808004486E-2</c:v>
                </c:pt>
                <c:pt idx="7">
                  <c:v>8.7098465991365046E-2</c:v>
                </c:pt>
                <c:pt idx="8">
                  <c:v>7.4284429619195E-2</c:v>
                </c:pt>
                <c:pt idx="9">
                  <c:v>1.6918829226906334E-2</c:v>
                </c:pt>
                <c:pt idx="10">
                  <c:v>5.424731281728228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4.2428664933548254E-3</c:v>
                </c:pt>
                <c:pt idx="3">
                  <c:v>9.8194024376712114E-3</c:v>
                </c:pt>
                <c:pt idx="4">
                  <c:v>1.1778201192094651E-2</c:v>
                </c:pt>
                <c:pt idx="5">
                  <c:v>2.2363432229188829E-6</c:v>
                </c:pt>
                <c:pt idx="6">
                  <c:v>1.1011135466633473E-2</c:v>
                </c:pt>
                <c:pt idx="7">
                  <c:v>0.19000214688949399</c:v>
                </c:pt>
                <c:pt idx="8">
                  <c:v>4.5250168772540678E-2</c:v>
                </c:pt>
                <c:pt idx="9">
                  <c:v>1.820416690695460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0456139789913159E-3</c:v>
                </c:pt>
                <c:pt idx="1">
                  <c:v>7.5389509133130556E-2</c:v>
                </c:pt>
                <c:pt idx="2">
                  <c:v>7.0250202079780166E-3</c:v>
                </c:pt>
                <c:pt idx="4">
                  <c:v>2.5381543944715312E-2</c:v>
                </c:pt>
                <c:pt idx="5">
                  <c:v>0.15677080032347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3686511881263308E-3</c:v>
                </c:pt>
                <c:pt idx="4">
                  <c:v>3.5295110706602621E-2</c:v>
                </c:pt>
                <c:pt idx="6">
                  <c:v>0.12133356286779519</c:v>
                </c:pt>
                <c:pt idx="7">
                  <c:v>5.0100273823574029E-3</c:v>
                </c:pt>
                <c:pt idx="8">
                  <c:v>2.72058766151394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802079437575857E-2</c:v>
                </c:pt>
                <c:pt idx="1">
                  <c:v>1.1031262555639744E-2</c:v>
                </c:pt>
                <c:pt idx="2">
                  <c:v>3.7116160234848396E-3</c:v>
                </c:pt>
                <c:pt idx="3">
                  <c:v>2.3247691855885096E-2</c:v>
                </c:pt>
                <c:pt idx="4">
                  <c:v>1.9758758519278136E-2</c:v>
                </c:pt>
                <c:pt idx="5">
                  <c:v>7.8658947761496567E-2</c:v>
                </c:pt>
                <c:pt idx="6">
                  <c:v>4.8832600288573919E-2</c:v>
                </c:pt>
                <c:pt idx="7">
                  <c:v>8.6730148361864323E-3</c:v>
                </c:pt>
                <c:pt idx="8">
                  <c:v>2.4761934126654679E-2</c:v>
                </c:pt>
                <c:pt idx="9">
                  <c:v>1.0386053744942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9496267520693014</c:v>
                </c:pt>
                <c:pt idx="1">
                  <c:v>1.2898882045537288E-2</c:v>
                </c:pt>
                <c:pt idx="2">
                  <c:v>1.7946845665942627E-2</c:v>
                </c:pt>
                <c:pt idx="3">
                  <c:v>2.9438823787704141E-2</c:v>
                </c:pt>
                <c:pt idx="4">
                  <c:v>9.6520940868899327E-2</c:v>
                </c:pt>
                <c:pt idx="5">
                  <c:v>8.4411859545073936E-2</c:v>
                </c:pt>
                <c:pt idx="6">
                  <c:v>0.18500629086262083</c:v>
                </c:pt>
                <c:pt idx="7">
                  <c:v>0.25423137173567506</c:v>
                </c:pt>
                <c:pt idx="8">
                  <c:v>0.10018099339047251</c:v>
                </c:pt>
                <c:pt idx="9">
                  <c:v>2.0525372145960695E-2</c:v>
                </c:pt>
                <c:pt idx="10">
                  <c:v>3.875944745183480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886971688711839E-2</c:v>
                </c:pt>
                <c:pt idx="1">
                  <c:v>1.5974459595292229E-3</c:v>
                </c:pt>
                <c:pt idx="2">
                  <c:v>1.8387168246666462E-5</c:v>
                </c:pt>
                <c:pt idx="3">
                  <c:v>7.3490810415649749E-3</c:v>
                </c:pt>
                <c:pt idx="4">
                  <c:v>1.2773537530529365E-2</c:v>
                </c:pt>
                <c:pt idx="5">
                  <c:v>4.9918432269753024E-2</c:v>
                </c:pt>
                <c:pt idx="6">
                  <c:v>3.0035188328909276E-2</c:v>
                </c:pt>
                <c:pt idx="7">
                  <c:v>0.11509931168295184</c:v>
                </c:pt>
                <c:pt idx="8">
                  <c:v>7.2608145043608824E-2</c:v>
                </c:pt>
                <c:pt idx="9">
                  <c:v>1.8933787642518948E-2</c:v>
                </c:pt>
                <c:pt idx="10">
                  <c:v>3.725648393703323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2174329166919292E-2</c:v>
                </c:pt>
                <c:pt idx="5">
                  <c:v>3.2737045210557078E-3</c:v>
                </c:pt>
                <c:pt idx="6">
                  <c:v>6.4598286448432213E-2</c:v>
                </c:pt>
                <c:pt idx="7">
                  <c:v>4.07556553417644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9024733702505884E-4</c:v>
                </c:pt>
                <c:pt idx="2">
                  <c:v>5.5563311213124834E-4</c:v>
                </c:pt>
                <c:pt idx="3">
                  <c:v>4.8828124206091788E-4</c:v>
                </c:pt>
                <c:pt idx="4">
                  <c:v>7.5690624640823226E-4</c:v>
                </c:pt>
                <c:pt idx="5">
                  <c:v>2.6462238589423765E-3</c:v>
                </c:pt>
                <c:pt idx="6">
                  <c:v>9.0242847848843175E-4</c:v>
                </c:pt>
                <c:pt idx="7">
                  <c:v>2.7495490946863193E-2</c:v>
                </c:pt>
                <c:pt idx="8">
                  <c:v>3.944329077005696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2590271098278669</c:v>
                </c:pt>
                <c:pt idx="1">
                  <c:v>1.1301436086008063E-2</c:v>
                </c:pt>
                <c:pt idx="2">
                  <c:v>1.7372825385564714E-2</c:v>
                </c:pt>
                <c:pt idx="3">
                  <c:v>2.1601461504078247E-2</c:v>
                </c:pt>
                <c:pt idx="4">
                  <c:v>5.0816167925042434E-2</c:v>
                </c:pt>
                <c:pt idx="5">
                  <c:v>2.8573498895322832E-2</c:v>
                </c:pt>
                <c:pt idx="6">
                  <c:v>8.9470387606790894E-2</c:v>
                </c:pt>
                <c:pt idx="7">
                  <c:v>0.10756100357168356</c:v>
                </c:pt>
                <c:pt idx="8">
                  <c:v>2.7178415439163134E-2</c:v>
                </c:pt>
                <c:pt idx="9">
                  <c:v>1.59158450344174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25131734248297161</c:v>
                </c:pt>
                <c:pt idx="1">
                  <c:v>2.3995313180558159E-2</c:v>
                </c:pt>
                <c:pt idx="2">
                  <c:v>1.7913651730790934E-2</c:v>
                </c:pt>
                <c:pt idx="3">
                  <c:v>4.7597097714130857E-2</c:v>
                </c:pt>
                <c:pt idx="4">
                  <c:v>9.651889967226962E-2</c:v>
                </c:pt>
                <c:pt idx="5">
                  <c:v>0.11494751174683013</c:v>
                </c:pt>
                <c:pt idx="6">
                  <c:v>0.17365993639694652</c:v>
                </c:pt>
                <c:pt idx="7">
                  <c:v>0.17952376942204423</c:v>
                </c:pt>
                <c:pt idx="8">
                  <c:v>8.2893600058558198E-2</c:v>
                </c:pt>
                <c:pt idx="9">
                  <c:v>1.0852694598812915E-2</c:v>
                </c:pt>
                <c:pt idx="10">
                  <c:v>7.80182996086873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9.0782490226790774E-2</c:v>
                </c:pt>
                <c:pt idx="1">
                  <c:v>3.6498678989089948E-3</c:v>
                </c:pt>
                <c:pt idx="2">
                  <c:v>1.3021314977468314E-4</c:v>
                </c:pt>
                <c:pt idx="3">
                  <c:v>2.4115791299788969E-2</c:v>
                </c:pt>
                <c:pt idx="4">
                  <c:v>3.4095393137324376E-2</c:v>
                </c:pt>
                <c:pt idx="5">
                  <c:v>5.0090418365926447E-2</c:v>
                </c:pt>
                <c:pt idx="6">
                  <c:v>4.3030400579000906E-2</c:v>
                </c:pt>
                <c:pt idx="7">
                  <c:v>8.4587082630668844E-2</c:v>
                </c:pt>
                <c:pt idx="8">
                  <c:v>1.8760286273090294E-2</c:v>
                </c:pt>
                <c:pt idx="9">
                  <c:v>7.899963053851185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2.6529993479664411E-2</c:v>
                </c:pt>
                <c:pt idx="5">
                  <c:v>1.5983326112948473E-2</c:v>
                </c:pt>
                <c:pt idx="6">
                  <c:v>3.6642299154613651E-2</c:v>
                </c:pt>
                <c:pt idx="7">
                  <c:v>7.044404733553281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ocha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5422420267787064E-2</c:v>
                </c:pt>
                <c:pt idx="1">
                  <c:v>7.2585754055184613E-7</c:v>
                </c:pt>
                <c:pt idx="2">
                  <c:v>9.4233387764583793E-5</c:v>
                </c:pt>
                <c:pt idx="3">
                  <c:v>4.4496063510883832E-3</c:v>
                </c:pt>
                <c:pt idx="4">
                  <c:v>7.903706201560306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0.13511243198839379</c:v>
                </c:pt>
                <c:pt idx="1">
                  <c:v>2.0344719424108614E-2</c:v>
                </c:pt>
                <c:pt idx="2">
                  <c:v>1.7689205193251671E-2</c:v>
                </c:pt>
                <c:pt idx="3">
                  <c:v>1.9031700063253505E-2</c:v>
                </c:pt>
                <c:pt idx="4">
                  <c:v>2.7989806853720534E-2</c:v>
                </c:pt>
                <c:pt idx="5">
                  <c:v>4.8873767267955191E-2</c:v>
                </c:pt>
                <c:pt idx="6">
                  <c:v>9.3987236663331947E-2</c:v>
                </c:pt>
                <c:pt idx="7">
                  <c:v>8.7892282057822069E-2</c:v>
                </c:pt>
                <c:pt idx="8">
                  <c:v>6.413331378546791E-2</c:v>
                </c:pt>
                <c:pt idx="9">
                  <c:v>2.9527315449617295E-3</c:v>
                </c:pt>
                <c:pt idx="10">
                  <c:v>7.8018299608687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0.11134487526752247</c:v>
                </c:pt>
                <c:pt idx="1">
                  <c:v>8.6388730647585267E-3</c:v>
                </c:pt>
                <c:pt idx="2">
                  <c:v>7.0231276717453266E-3</c:v>
                </c:pt>
                <c:pt idx="3">
                  <c:v>2.7029708298252682E-2</c:v>
                </c:pt>
                <c:pt idx="4">
                  <c:v>9.9634202523714965E-2</c:v>
                </c:pt>
                <c:pt idx="5">
                  <c:v>8.093983357307101E-2</c:v>
                </c:pt>
                <c:pt idx="6">
                  <c:v>0.20959900182304106</c:v>
                </c:pt>
                <c:pt idx="7">
                  <c:v>0.23816393941505132</c:v>
                </c:pt>
                <c:pt idx="8">
                  <c:v>0.1377539702635304</c:v>
                </c:pt>
                <c:pt idx="9">
                  <c:v>6.5697004068989789E-2</c:v>
                </c:pt>
                <c:pt idx="10">
                  <c:v>1.41754640303225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2543591800751919E-2</c:v>
                </c:pt>
                <c:pt idx="1">
                  <c:v>2.7590807500733382E-3</c:v>
                </c:pt>
                <c:pt idx="3">
                  <c:v>7.7166322509403243E-3</c:v>
                </c:pt>
                <c:pt idx="4">
                  <c:v>5.9735084658300841E-4</c:v>
                </c:pt>
                <c:pt idx="5">
                  <c:v>3.1830293047899576E-2</c:v>
                </c:pt>
                <c:pt idx="6">
                  <c:v>1.9441112333369377E-2</c:v>
                </c:pt>
                <c:pt idx="7">
                  <c:v>0.11073277241406766</c:v>
                </c:pt>
                <c:pt idx="8">
                  <c:v>0.11577682853613365</c:v>
                </c:pt>
                <c:pt idx="9">
                  <c:v>6.50042670327481E-2</c:v>
                </c:pt>
                <c:pt idx="10">
                  <c:v>1.415805514399696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231195239816684E-2</c:v>
                </c:pt>
                <c:pt idx="5">
                  <c:v>3.3488236434268716E-3</c:v>
                </c:pt>
                <c:pt idx="6">
                  <c:v>7.528871001670545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31413019586515E-5</c:v>
                </c:pt>
                <c:pt idx="1">
                  <c:v>3.2581270568675103E-3</c:v>
                </c:pt>
                <c:pt idx="2">
                  <c:v>1.4175084476114822E-4</c:v>
                </c:pt>
                <c:pt idx="4">
                  <c:v>6.4359741815419582E-4</c:v>
                </c:pt>
                <c:pt idx="5">
                  <c:v>1.0636289734475685E-3</c:v>
                </c:pt>
                <c:pt idx="6">
                  <c:v>3.4325693272629403E-2</c:v>
                </c:pt>
                <c:pt idx="7">
                  <c:v>3.074734054801217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8775052053750947E-2</c:v>
                </c:pt>
                <c:pt idx="1">
                  <c:v>2.6216652578176778E-3</c:v>
                </c:pt>
                <c:pt idx="2">
                  <c:v>6.8813768269841789E-3</c:v>
                </c:pt>
                <c:pt idx="3">
                  <c:v>1.9313076047312357E-2</c:v>
                </c:pt>
                <c:pt idx="4">
                  <c:v>5.9162059019161078E-2</c:v>
                </c:pt>
                <c:pt idx="5">
                  <c:v>4.4697087908297004E-2</c:v>
                </c:pt>
                <c:pt idx="6">
                  <c:v>8.05434862003368E-2</c:v>
                </c:pt>
                <c:pt idx="7">
                  <c:v>9.6683826452971466E-2</c:v>
                </c:pt>
                <c:pt idx="8">
                  <c:v>2.1977141727396746E-2</c:v>
                </c:pt>
                <c:pt idx="9">
                  <c:v>6.9273703624169142E-4</c:v>
                </c:pt>
                <c:pt idx="10">
                  <c:v>1.7408886325539089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583873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366785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63453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25969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664488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181194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09189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5931311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35056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808024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31454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06841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34801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343412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88177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99272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61375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71439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05174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879949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5012868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181640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2020467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835030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900016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42653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525261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501726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798640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359174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42005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7389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312981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86211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0727586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898945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934962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326152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296214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29503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300620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322935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449927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72994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67015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642556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016932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61715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5272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62077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789618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615493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18259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738878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332895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3839060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072444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818526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485308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636669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337275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663420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101507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654427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072786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60783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04749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645711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254552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75145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938164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86793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752869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95474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039177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646092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43846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390040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012050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012951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611610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263858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863651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5737806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0575401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416453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229363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82060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56710600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005449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255174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27114388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900186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4943424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7944703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7908065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1275097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9863142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142411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8883</Words>
  <Application>Microsoft Office PowerPoint</Application>
  <PresentationFormat>On-screen Show (16:9)</PresentationFormat>
  <Paragraphs>3043</Paragraphs>
  <Slides>9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08"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2:3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